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86" r:id="rId5"/>
  </p:sldMasterIdLst>
  <p:notesMasterIdLst>
    <p:notesMasterId r:id="rId34"/>
  </p:notesMasterIdLst>
  <p:handoutMasterIdLst>
    <p:handoutMasterId r:id="rId35"/>
  </p:handoutMasterIdLst>
  <p:sldIdLst>
    <p:sldId id="2147483643" r:id="rId6"/>
    <p:sldId id="474" r:id="rId7"/>
    <p:sldId id="2147483628" r:id="rId8"/>
    <p:sldId id="256" r:id="rId9"/>
    <p:sldId id="263" r:id="rId10"/>
    <p:sldId id="399" r:id="rId11"/>
    <p:sldId id="2147483646" r:id="rId12"/>
    <p:sldId id="257" r:id="rId13"/>
    <p:sldId id="262" r:id="rId14"/>
    <p:sldId id="265" r:id="rId15"/>
    <p:sldId id="2147483647" r:id="rId16"/>
    <p:sldId id="266" r:id="rId17"/>
    <p:sldId id="259" r:id="rId18"/>
    <p:sldId id="260" r:id="rId19"/>
    <p:sldId id="258" r:id="rId20"/>
    <p:sldId id="268" r:id="rId21"/>
    <p:sldId id="269" r:id="rId22"/>
    <p:sldId id="274" r:id="rId23"/>
    <p:sldId id="261" r:id="rId24"/>
    <p:sldId id="270" r:id="rId25"/>
    <p:sldId id="272" r:id="rId26"/>
    <p:sldId id="278" r:id="rId27"/>
    <p:sldId id="273" r:id="rId28"/>
    <p:sldId id="279" r:id="rId29"/>
    <p:sldId id="271" r:id="rId30"/>
    <p:sldId id="267" r:id="rId31"/>
    <p:sldId id="264" r:id="rId32"/>
    <p:sldId id="479" r:id="rId33"/>
  </p:sldIdLst>
  <p:sldSz cx="12192000" cy="6858000"/>
  <p:notesSz cx="6858000" cy="91440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and Divider" id="{A6CF1C74-970C-0549-98FD-D72883C2E89F}">
          <p14:sldIdLst>
            <p14:sldId id="2147483643"/>
          </p14:sldIdLst>
        </p14:section>
        <p14:section name="Agenda" id="{0D8ACF66-B690-4147-814A-DF9A2F76C583}">
          <p14:sldIdLst>
            <p14:sldId id="474"/>
          </p14:sldIdLst>
        </p14:section>
        <p14:section name="The Reframe" id="{0C81E5F8-4C43-4AB1-B8B6-F96EEDD0FFD1}">
          <p14:sldIdLst>
            <p14:sldId id="2147483628"/>
            <p14:sldId id="256"/>
            <p14:sldId id="263"/>
            <p14:sldId id="399"/>
          </p14:sldIdLst>
        </p14:section>
        <p14:section name="The Foundation" id="{C8A2C5B4-7D36-2A47-A7C6-FFA2C467655D}">
          <p14:sldIdLst>
            <p14:sldId id="2147483646"/>
            <p14:sldId id="257"/>
            <p14:sldId id="262"/>
            <p14:sldId id="265"/>
            <p14:sldId id="2147483647"/>
            <p14:sldId id="266"/>
            <p14:sldId id="259"/>
          </p14:sldIdLst>
        </p14:section>
        <p14:section name="The Strategy" id="{07413E6C-FBFB-B84E-BF58-BF42E0D58E29}">
          <p14:sldIdLst>
            <p14:sldId id="260"/>
            <p14:sldId id="258"/>
            <p14:sldId id="268"/>
            <p14:sldId id="269"/>
          </p14:sldIdLst>
        </p14:section>
        <p14:section name="The Brand" id="{EAB651F7-2C90-7447-B24A-F8386816549E}">
          <p14:sldIdLst>
            <p14:sldId id="274"/>
            <p14:sldId id="261"/>
            <p14:sldId id="270"/>
            <p14:sldId id="272"/>
            <p14:sldId id="278"/>
            <p14:sldId id="273"/>
            <p14:sldId id="279"/>
          </p14:sldIdLst>
        </p14:section>
        <p14:section name="The Action Plan" id="{5F80F59F-454C-0743-A551-110714339934}">
          <p14:sldIdLst>
            <p14:sldId id="271"/>
            <p14:sldId id="267"/>
            <p14:sldId id="264"/>
          </p14:sldIdLst>
        </p14:section>
        <p14:section name="Next steps / Thank you" id="{39685641-5391-4BDC-99D2-31BF1C25F109}">
          <p14:sldIdLst>
            <p14:sldId id="47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292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6F4406-8CE0-2386-4EF1-D43DB5C79AC7}" name="Nielson, Shaina" initials="NS" userId="S::shaina.nielson@am.jll.com::3346df88-9dd8-4402-841c-39e9ae827103" providerId="AD"/>
  <p188:author id="{035A422E-2115-6F5A-FFC4-60B2D6AE5152}" name="Jack Clements" initials="JC" userId="S::Jack.Clements@metaone.co.uk::3e18440c-c585-43a5-9f9e-d59457a480e9" providerId="AD"/>
  <p188:author id="{078FE232-C4AE-8AAF-AF7F-DCB8B6CDA2A3}" name="H-Rushton, Bertie" initials="BH" userId="S::B.Harrisonrushton@eu.jll.com::d27dc876-73bf-41b5-891e-26aaec5e785b" providerId="AD"/>
  <p188:author id="{D1EF3933-54DD-F3F4-4A71-CC40191719A1}" name="Saluja, Sanjana" initials="SS" userId="S::sanjana.saluja@ap.jll.com::8acccffd-4ee4-4d9a-93e7-836b8cab8020" providerId="AD"/>
  <p188:author id="{8FD63134-B16B-F333-3059-6C555DEE5F75}" name="Fourquet-Mittal, Constance" initials="CF" userId="S::C.Fourquet-Mittal@jll.com::a3a13077-97d1-46a7-af8d-4d7ab4fe5f6a" providerId="AD"/>
  <p188:author id="{1EACF847-69AC-C675-E0BC-9D7FFB40CD72}" name="Mohammad, Noor" initials="NM" userId="S::Noor.Mohammad@ap.jll.com::6f39a088-cc00-4d1d-a435-483a44d3de64" providerId="AD"/>
  <p188:author id="{3212D979-BDA3-E365-80F8-FD37C1C01659}" name="Gupta, Sanya" initials="" userId="S::Sanya.Gupta@jll.com::22ae495a-72ef-40af-8fae-b7ea27f7d70c" providerId="AD"/>
  <p188:author id="{D1DB179E-2901-DF39-3036-A6BA015A0488}" name="Sira, Nim" initials="SN" userId="S::nim.sira@eu.jll.com::5e3067fa-642d-4b3c-8d5c-4fd4da40958d" providerId="AD"/>
  <p188:author id="{F78D699E-84E1-258F-3EEC-7BACEB612E98}" name="Amode, Aisha Olalemi" initials="AA" userId="S::AishaOlalemi.Amode@eu.jll.com::17e1c333-46b7-401d-87ff-876df5ce369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ourquet-Mittal, Constance" initials="CF" lastIdx="3" clrIdx="0">
    <p:extLst>
      <p:ext uri="{19B8F6BF-5375-455C-9EA6-DF929625EA0E}">
        <p15:presenceInfo xmlns:p15="http://schemas.microsoft.com/office/powerpoint/2012/main" userId="S::C.Fourquet-Mittal@jll.com::a3a13077-97d1-46a7-af8d-4d7ab4fe5f6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E8ED"/>
    <a:srgbClr val="E5F3F6"/>
    <a:srgbClr val="EAF4F7"/>
    <a:srgbClr val="003E51"/>
    <a:srgbClr val="BCDEE6"/>
    <a:srgbClr val="F9FDFE"/>
    <a:srgbClr val="F2F9FB"/>
    <a:srgbClr val="ECF6F9"/>
    <a:srgbClr val="DDEEF2"/>
    <a:srgbClr val="D8EC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01"/>
    <p:restoredTop sz="96585"/>
  </p:normalViewPr>
  <p:slideViewPr>
    <p:cSldViewPr snapToGrid="0">
      <p:cViewPr>
        <p:scale>
          <a:sx n="60" d="100"/>
          <a:sy n="60" d="100"/>
        </p:scale>
        <p:origin x="1304" y="1784"/>
      </p:cViewPr>
      <p:guideLst>
        <p:guide orient="horz" pos="4292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viewProps" Target="viewProps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42" Type="http://schemas.microsoft.com/office/2018/10/relationships/authors" Target="author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ACCB171-CB17-7A17-31E2-A3387EB67A0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9699FF-1C28-09B0-C0D9-EADE16FD75F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718F56-D196-466F-8123-9F145C40699F}" type="datetimeFigureOut">
              <a:rPr lang="en-GB" smtClean="0"/>
              <a:t>19/10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213D0EB-5EA0-DB26-8D83-F2F99CA1912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599A31-324C-C5C5-AFFE-2C99ED8298B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D808CF-FD43-41C1-9D12-32CAA700BC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478522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48B4E8-9D12-8A4A-9CD6-4D84DF6DAA87}" type="datetimeFigureOut">
              <a:rPr lang="en-GB" smtClean="0"/>
              <a:t>18/10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BF1D8A-BD29-C340-9878-B8C13AD7CD5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40537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6" Type="http://schemas.openxmlformats.org/officeDocument/2006/relationships/tags" Target="../tags/tag66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3.jpe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4" Type="http://schemas.openxmlformats.org/officeDocument/2006/relationships/image" Target="../media/image10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ags" Target="../tags/tag9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tags" Target="../tags/tag10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image" Target="../media/image2.png"/><Relationship Id="rId4" Type="http://schemas.openxmlformats.org/officeDocument/2006/relationships/image" Target="../media/image11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2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2.png"/><Relationship Id="rId4" Type="http://schemas.openxmlformats.org/officeDocument/2006/relationships/tags" Target="../tags/tag31.xml"/><Relationship Id="rId9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9.xml"/><Relationship Id="rId7" Type="http://schemas.openxmlformats.org/officeDocument/2006/relationships/image" Target="../media/image9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0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Image">
    <p:bg>
      <p:bgPr>
        <a:solidFill>
          <a:srgbClr val="131E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4FB1041-A763-5777-4AA5-6179DA7F71E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131E29">
                  <a:alpha val="88000"/>
                </a:srgbClr>
              </a:gs>
              <a:gs pos="48000">
                <a:srgbClr val="131E29">
                  <a:alpha val="35000"/>
                </a:srgbClr>
              </a:gs>
              <a:gs pos="100000">
                <a:srgbClr val="131E29">
                  <a:alpha val="0"/>
                </a:srgbClr>
              </a:gs>
            </a:gsLst>
            <a:lin ang="21594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032E0255-35FE-A1A0-2506-3155C2A117F9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1"/>
            </p:custDataLst>
          </p:nvPr>
        </p:nvSpPr>
        <p:spPr>
          <a:xfrm>
            <a:off x="515939" y="4410000"/>
            <a:ext cx="5435599" cy="85724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  <a:latin typeface="Source Serif Pro" panose="02040603050405020204" pitchFamily="18" charset="0"/>
                <a:ea typeface="Source Serif Pro" panose="02040603050405020204" pitchFamily="18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i="1">
                <a:solidFill>
                  <a:schemeClr val="bg1"/>
                </a:solidFill>
                <a:latin typeface="Source Serif Pro" panose="02040603050405020204" pitchFamily="18" charset="0"/>
                <a:ea typeface="Source Serif Pro" panose="02040603050405020204" pitchFamily="18" charset="0"/>
                <a:cs typeface="Times New Roman" panose="02020603050405020304" pitchFamily="18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66C183-11CB-6D09-DF0F-07D41F14976C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15939" y="1018211"/>
            <a:ext cx="5435599" cy="1609724"/>
          </a:xfrm>
        </p:spPr>
        <p:txBody>
          <a:bodyPr anchor="b" anchorCtr="0"/>
          <a:lstStyle>
            <a:lvl1pPr>
              <a:defRPr sz="5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1666300-AC96-9E5B-73E2-1938B47672B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515939" y="3117850"/>
            <a:ext cx="5435599" cy="607559"/>
          </a:xfrm>
        </p:spPr>
        <p:txBody>
          <a:bodyPr anchor="t" anchorCtr="0"/>
          <a:lstStyle>
            <a:lvl1pPr>
              <a:defRPr sz="1800" b="0" i="0">
                <a:solidFill>
                  <a:schemeClr val="bg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>
              <a:defRPr sz="2000" b="1" i="0">
                <a:latin typeface="+mj-lt"/>
              </a:defRPr>
            </a:lvl2pPr>
            <a:lvl3pPr>
              <a:defRPr sz="2000" b="1" i="0">
                <a:latin typeface="+mj-lt"/>
              </a:defRPr>
            </a:lvl3pPr>
            <a:lvl4pPr>
              <a:defRPr sz="2000" b="1" i="0">
                <a:latin typeface="+mj-lt"/>
              </a:defRPr>
            </a:lvl4pPr>
            <a:lvl5pPr>
              <a:defRPr sz="2000" b="1" i="0">
                <a:latin typeface="+mj-lt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0A5BE99-580C-FF1F-3A9A-C5717FF4D17D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9" y="6180635"/>
            <a:ext cx="4315968" cy="443373"/>
          </a:xfrm>
          <a:prstGeom prst="rect">
            <a:avLst/>
          </a:prstGeom>
        </p:spPr>
      </p:pic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18A8D9DA-A42D-B891-1A25-B704D980B3B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979561" y="6328327"/>
            <a:ext cx="3698089" cy="1238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z="800"/>
              <a:t>©2025 Jones Lang LaSalle I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977777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is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E29EFAB-7464-34FA-0716-095AF09E804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5141912" cy="6858000"/>
          </a:xfrm>
          <a:prstGeom prst="rect">
            <a:avLst/>
          </a:prstGeom>
          <a:solidFill>
            <a:srgbClr val="BCDEE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DD136-07DC-B0FA-905D-866FED0052D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15938" y="415926"/>
            <a:ext cx="4027487" cy="5492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94F2621-4BD8-E445-27F7-ABC92AD4572F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514350" y="1143000"/>
            <a:ext cx="4029075" cy="5094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FDF3492-A8F7-7D0E-4093-FA95987882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3863" y="1110673"/>
            <a:ext cx="534987" cy="504825"/>
          </a:xfrm>
        </p:spPr>
        <p:txBody>
          <a:bodyPr/>
          <a:lstStyle>
            <a:lvl1pPr algn="r">
              <a:defRPr sz="3200" b="0">
                <a:solidFill>
                  <a:srgbClr val="95C6D5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A67F912-31DA-3673-AF5A-193EBE6C8E65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6240463" y="1167823"/>
            <a:ext cx="5435599" cy="730250"/>
          </a:xfrm>
        </p:spPr>
        <p:txBody>
          <a:bodyPr/>
          <a:lstStyle>
            <a:lvl1pPr>
              <a:spcBef>
                <a:spcPts val="10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AF55130-9DEB-916E-4F87-62D86AFA54F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5503863" y="1964748"/>
            <a:ext cx="534987" cy="504825"/>
          </a:xfrm>
        </p:spPr>
        <p:txBody>
          <a:bodyPr/>
          <a:lstStyle>
            <a:lvl1pPr algn="r">
              <a:defRPr sz="3200" b="0">
                <a:solidFill>
                  <a:srgbClr val="95C6D5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008A56F8-0942-4474-5EC4-B892663F889B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6240463" y="2021898"/>
            <a:ext cx="5437187" cy="730250"/>
          </a:xfrm>
        </p:spPr>
        <p:txBody>
          <a:bodyPr/>
          <a:lstStyle>
            <a:lvl1pPr>
              <a:spcBef>
                <a:spcPts val="10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3F515FB-8461-D9DE-D5EB-5C565533B2CC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5503863" y="2761673"/>
            <a:ext cx="534987" cy="504825"/>
          </a:xfrm>
        </p:spPr>
        <p:txBody>
          <a:bodyPr/>
          <a:lstStyle>
            <a:lvl1pPr algn="r">
              <a:defRPr sz="3200" b="0">
                <a:solidFill>
                  <a:srgbClr val="95C6D5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EF6F82C-7153-5761-765F-AB4FE2800C48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9"/>
            </p:custDataLst>
          </p:nvPr>
        </p:nvSpPr>
        <p:spPr>
          <a:xfrm>
            <a:off x="6240463" y="2818823"/>
            <a:ext cx="5437188" cy="730250"/>
          </a:xfrm>
        </p:spPr>
        <p:txBody>
          <a:bodyPr/>
          <a:lstStyle>
            <a:lvl1pPr>
              <a:spcBef>
                <a:spcPts val="10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E4D2195B-1615-6CDB-3477-B4BE3D002790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5503863" y="3609399"/>
            <a:ext cx="534987" cy="504825"/>
          </a:xfrm>
        </p:spPr>
        <p:txBody>
          <a:bodyPr/>
          <a:lstStyle>
            <a:lvl1pPr algn="r">
              <a:defRPr sz="3200" b="0">
                <a:solidFill>
                  <a:srgbClr val="95C6D5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8EEAE6BD-C59E-FFBA-C9A1-B09281B47E3F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11"/>
            </p:custDataLst>
          </p:nvPr>
        </p:nvSpPr>
        <p:spPr>
          <a:xfrm>
            <a:off x="6240463" y="3666549"/>
            <a:ext cx="5437188" cy="730250"/>
          </a:xfrm>
        </p:spPr>
        <p:txBody>
          <a:bodyPr/>
          <a:lstStyle>
            <a:lvl1pPr>
              <a:spcBef>
                <a:spcPts val="10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C26D27A2-04AF-905A-F6E4-A29C4C56E7A5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2"/>
            </p:custDataLst>
          </p:nvPr>
        </p:nvSpPr>
        <p:spPr>
          <a:xfrm>
            <a:off x="5503863" y="4463474"/>
            <a:ext cx="534987" cy="504825"/>
          </a:xfrm>
        </p:spPr>
        <p:txBody>
          <a:bodyPr/>
          <a:lstStyle>
            <a:lvl1pPr algn="r">
              <a:defRPr sz="3200" b="0">
                <a:solidFill>
                  <a:srgbClr val="95C6D5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02BFEBEA-B6B2-CC92-605F-E15BD1A6BBC3}"/>
              </a:ext>
            </a:extLst>
          </p:cNvPr>
          <p:cNvSpPr>
            <a:spLocks noGrp="1"/>
          </p:cNvSpPr>
          <p:nvPr>
            <p:ph type="body" sz="quarter" idx="24"/>
            <p:custDataLst>
              <p:tags r:id="rId13"/>
            </p:custDataLst>
          </p:nvPr>
        </p:nvSpPr>
        <p:spPr>
          <a:xfrm>
            <a:off x="6240463" y="4520624"/>
            <a:ext cx="5437187" cy="730250"/>
          </a:xfrm>
        </p:spPr>
        <p:txBody>
          <a:bodyPr/>
          <a:lstStyle>
            <a:lvl1pPr>
              <a:spcBef>
                <a:spcPts val="10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560BFE0B-490F-EF93-E295-29FCB7B75F33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4"/>
            </p:custDataLst>
          </p:nvPr>
        </p:nvSpPr>
        <p:spPr>
          <a:xfrm>
            <a:off x="5503863" y="5260399"/>
            <a:ext cx="534987" cy="504825"/>
          </a:xfrm>
        </p:spPr>
        <p:txBody>
          <a:bodyPr/>
          <a:lstStyle>
            <a:lvl1pPr algn="r">
              <a:defRPr sz="3200" b="0">
                <a:solidFill>
                  <a:srgbClr val="95C6D5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03B51A27-6403-AA56-5978-5CD672A02CD9}"/>
              </a:ext>
            </a:extLst>
          </p:cNvPr>
          <p:cNvSpPr>
            <a:spLocks noGrp="1"/>
          </p:cNvSpPr>
          <p:nvPr>
            <p:ph type="body" sz="quarter" idx="26"/>
            <p:custDataLst>
              <p:tags r:id="rId15"/>
            </p:custDataLst>
          </p:nvPr>
        </p:nvSpPr>
        <p:spPr>
          <a:xfrm>
            <a:off x="6240463" y="5317549"/>
            <a:ext cx="5437187" cy="730250"/>
          </a:xfrm>
        </p:spPr>
        <p:txBody>
          <a:bodyPr/>
          <a:lstStyle>
            <a:lvl1pPr>
              <a:spcBef>
                <a:spcPts val="10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19">
            <a:extLst>
              <a:ext uri="{FF2B5EF4-FFF2-40B4-BE49-F238E27FC236}">
                <a16:creationId xmlns:a16="http://schemas.microsoft.com/office/drawing/2014/main" id="{0C420047-4259-2706-8DDF-ABBB1D36509B}"/>
              </a:ext>
            </a:extLst>
          </p:cNvPr>
          <p:cNvSpPr>
            <a:spLocks noGrp="1"/>
          </p:cNvSpPr>
          <p:nvPr>
            <p:ph type="sldNum" sz="quarter" idx="27"/>
            <p:custDataLst>
              <p:tags r:id="rId16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9191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arro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B2C522-07AB-6B0E-52AC-A4BC06950B6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23073" y="415925"/>
            <a:ext cx="8446302" cy="517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35ED77F-6F29-8A00-8E65-F161748CA8D7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2"/>
            </p:custDataLst>
          </p:nvPr>
        </p:nvSpPr>
        <p:spPr>
          <a:xfrm>
            <a:off x="9105900" y="415925"/>
            <a:ext cx="2571750" cy="58213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Slide Number Placeholder 19">
            <a:extLst>
              <a:ext uri="{FF2B5EF4-FFF2-40B4-BE49-F238E27FC236}">
                <a16:creationId xmlns:a16="http://schemas.microsoft.com/office/drawing/2014/main" id="{E0A481B9-2387-9E80-C7F0-25EB52D5E8A0}"/>
              </a:ext>
            </a:extLst>
          </p:cNvPr>
          <p:cNvSpPr>
            <a:spLocks noGrp="1"/>
          </p:cNvSpPr>
          <p:nvPr>
            <p:ph type="sldNum" sz="quarter" idx="27"/>
            <p:custDataLst>
              <p:tags r:id="rId3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3050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1B6589A-E1AC-A935-63C7-9F66B101CFF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25086" y="1577180"/>
            <a:ext cx="1145392" cy="9366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4B9C855-0338-C519-5FD5-3CB03011991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0782" y="2753518"/>
            <a:ext cx="2574000" cy="417513"/>
          </a:xfrm>
        </p:spPr>
        <p:txBody>
          <a:bodyPr/>
          <a:lstStyle>
            <a:lvl1pPr algn="ctr">
              <a:defRPr sz="2000" b="1">
                <a:solidFill>
                  <a:srgbClr val="131E29"/>
                </a:solidFill>
              </a:defRPr>
            </a:lvl1pPr>
          </a:lstStyle>
          <a:p>
            <a:pPr lvl="0"/>
            <a:r>
              <a:rPr lang="en-US"/>
              <a:t>Title 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27BCC4-405B-755F-B5CC-7B9E91250AC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A628DACA-46F3-1D52-40F2-1413047F6E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0782" y="3304381"/>
            <a:ext cx="2574000" cy="2297112"/>
          </a:xfrm>
        </p:spPr>
        <p:txBody>
          <a:bodyPr/>
          <a:lstStyle>
            <a:lvl1pPr algn="ctr">
              <a:defRPr sz="1800"/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algn="ctr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Picture Placeholder 25">
            <a:extLst>
              <a:ext uri="{FF2B5EF4-FFF2-40B4-BE49-F238E27FC236}">
                <a16:creationId xmlns:a16="http://schemas.microsoft.com/office/drawing/2014/main" id="{5FED39B5-2E8E-DE99-64A8-D7ADF370C86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89375" y="1562893"/>
            <a:ext cx="1145392" cy="9366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659089B5-5761-B01A-EE4B-CD937D283C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74597" y="2753518"/>
            <a:ext cx="2575424" cy="417513"/>
          </a:xfrm>
        </p:spPr>
        <p:txBody>
          <a:bodyPr/>
          <a:lstStyle>
            <a:lvl1pPr algn="ctr">
              <a:defRPr sz="2000" b="1">
                <a:solidFill>
                  <a:srgbClr val="131E29"/>
                </a:solidFill>
              </a:defRPr>
            </a:lvl1pPr>
          </a:lstStyle>
          <a:p>
            <a:pPr lvl="0"/>
            <a:r>
              <a:rPr lang="en-US"/>
              <a:t>Title 2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87D79CA7-05A4-F5BC-9F92-BCEAE405654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74068" y="3304381"/>
            <a:ext cx="2575424" cy="2297112"/>
          </a:xfrm>
        </p:spPr>
        <p:txBody>
          <a:bodyPr/>
          <a:lstStyle>
            <a:lvl1pPr algn="ctr">
              <a:defRPr sz="1800"/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algn="ctr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Picture Placeholder 25">
            <a:extLst>
              <a:ext uri="{FF2B5EF4-FFF2-40B4-BE49-F238E27FC236}">
                <a16:creationId xmlns:a16="http://schemas.microsoft.com/office/drawing/2014/main" id="{A15FA58E-3D55-41F0-2B9E-F810DF4521A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953664" y="1562893"/>
            <a:ext cx="1145392" cy="9366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242E3F13-D477-D873-0534-D5C96B0139F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39836" y="2753518"/>
            <a:ext cx="2574000" cy="417513"/>
          </a:xfrm>
        </p:spPr>
        <p:txBody>
          <a:bodyPr/>
          <a:lstStyle>
            <a:lvl1pPr algn="ctr">
              <a:defRPr sz="2000" b="1">
                <a:solidFill>
                  <a:srgbClr val="131E29"/>
                </a:solidFill>
              </a:defRPr>
            </a:lvl1pPr>
          </a:lstStyle>
          <a:p>
            <a:pPr lvl="0"/>
            <a:r>
              <a:rPr lang="en-US"/>
              <a:t>Title 3</a:t>
            </a:r>
          </a:p>
        </p:txBody>
      </p:sp>
      <p:sp>
        <p:nvSpPr>
          <p:cNvPr id="34" name="Text Placeholder 27">
            <a:extLst>
              <a:ext uri="{FF2B5EF4-FFF2-40B4-BE49-F238E27FC236}">
                <a16:creationId xmlns:a16="http://schemas.microsoft.com/office/drawing/2014/main" id="{86DF7071-1525-BDCE-2AD9-4AF5E64FEAF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37353" y="3304381"/>
            <a:ext cx="2575425" cy="2297112"/>
          </a:xfrm>
        </p:spPr>
        <p:txBody>
          <a:bodyPr/>
          <a:lstStyle>
            <a:lvl1pPr algn="ctr">
              <a:defRPr sz="1800"/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algn="ctr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5" name="Picture Placeholder 25">
            <a:extLst>
              <a:ext uri="{FF2B5EF4-FFF2-40B4-BE49-F238E27FC236}">
                <a16:creationId xmlns:a16="http://schemas.microsoft.com/office/drawing/2014/main" id="{465705F2-CF7E-9778-08C0-640253C7B0C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817954" y="1562893"/>
            <a:ext cx="1145392" cy="9366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20">
            <a:extLst>
              <a:ext uri="{FF2B5EF4-FFF2-40B4-BE49-F238E27FC236}">
                <a16:creationId xmlns:a16="http://schemas.microsoft.com/office/drawing/2014/main" id="{D0711743-C1AE-173E-4315-B4EF004B5A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03650" y="2753517"/>
            <a:ext cx="2574000" cy="417513"/>
          </a:xfrm>
        </p:spPr>
        <p:txBody>
          <a:bodyPr/>
          <a:lstStyle>
            <a:lvl1pPr algn="ctr">
              <a:defRPr sz="2000" b="1">
                <a:solidFill>
                  <a:srgbClr val="131E29"/>
                </a:solidFill>
              </a:defRPr>
            </a:lvl1pPr>
          </a:lstStyle>
          <a:p>
            <a:pPr lvl="0"/>
            <a:r>
              <a:rPr lang="en-US"/>
              <a:t>Title 4</a:t>
            </a:r>
          </a:p>
        </p:txBody>
      </p:sp>
      <p:sp>
        <p:nvSpPr>
          <p:cNvPr id="37" name="Text Placeholder 27">
            <a:extLst>
              <a:ext uri="{FF2B5EF4-FFF2-40B4-BE49-F238E27FC236}">
                <a16:creationId xmlns:a16="http://schemas.microsoft.com/office/drawing/2014/main" id="{EE62117B-821D-F416-E6F3-EC7F290E93B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02063" y="3304381"/>
            <a:ext cx="2574000" cy="2297112"/>
          </a:xfrm>
        </p:spPr>
        <p:txBody>
          <a:bodyPr/>
          <a:lstStyle>
            <a:lvl1pPr algn="ctr">
              <a:defRPr sz="1800"/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algn="ctr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19">
            <a:extLst>
              <a:ext uri="{FF2B5EF4-FFF2-40B4-BE49-F238E27FC236}">
                <a16:creationId xmlns:a16="http://schemas.microsoft.com/office/drawing/2014/main" id="{F384F373-E957-8E67-47CE-FA81ECEE3DC0}"/>
              </a:ext>
            </a:extLst>
          </p:cNvPr>
          <p:cNvSpPr>
            <a:spLocks noGrp="1"/>
          </p:cNvSpPr>
          <p:nvPr>
            <p:ph type="sldNum" sz="quarter" idx="27"/>
            <p:custDataLst>
              <p:tags r:id="rId2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3687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B467B9-6B7B-A2C3-407D-5CD0D8DB2F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0C8745B-DAD1-4357-C0DC-D107A5F220C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1722439" y="1933574"/>
            <a:ext cx="9965976" cy="3065463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3600" b="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800" i="1">
                <a:latin typeface="Source Serif Pro" panose="02040603050405020204" pitchFamily="18" charset="0"/>
                <a:ea typeface="Source Serif Pro" panose="02040603050405020204" pitchFamily="18" charset="0"/>
                <a:cs typeface="Times New Roman" panose="02020603050405020304" pitchFamily="18" charset="0"/>
              </a:defRPr>
            </a:lvl2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FB9662-0449-C944-BD5A-49034DA7AB82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1722438" y="130402"/>
            <a:ext cx="1346200" cy="1434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1500"/>
              </a:spcBef>
              <a:spcAft>
                <a:spcPct val="0"/>
              </a:spcAft>
              <a:buFont typeface="Arial" panose="020B0604020202020204" pitchFamily="34" charset="0"/>
              <a:buNone/>
              <a:defRPr lang="en-US" sz="9000" b="1" i="0" kern="1200" dirty="0">
                <a:solidFill>
                  <a:schemeClr val="tx1"/>
                </a:solidFill>
                <a:latin typeface="Source Sans Pro Black" panose="020B0403030403020204" pitchFamily="34" charset="0"/>
                <a:ea typeface="Source Sans Pro Black" panose="020B0403030403020204" pitchFamily="34" charset="0"/>
                <a:cs typeface="Source Sans Pro Black" panose="020B0403030403020204" pitchFamily="34" charset="0"/>
              </a:defRPr>
            </a:lvl1pPr>
            <a:lvl2pPr marL="685800" indent="0" algn="l" rtl="0" eaLnBrk="0" fontAlgn="base" hangingPunct="0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 panose="020B0403030403020204" pitchFamily="34" charset="0"/>
              </a:defRPr>
            </a:lvl2pPr>
            <a:lvl3pPr marL="1371600" indent="0" algn="l" rtl="0" eaLnBrk="0" fontAlgn="base" hangingPunct="0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 panose="020B0403030403020204" pitchFamily="34" charset="0"/>
              </a:defRPr>
            </a:lvl3pPr>
            <a:lvl4pPr marL="2057400" indent="0" algn="l" rtl="0" eaLnBrk="0" fontAlgn="base" hangingPunct="0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 panose="020B0403030403020204" pitchFamily="34" charset="0"/>
              </a:defRPr>
            </a:lvl4pPr>
            <a:lvl5pPr marL="2743200" indent="0" algn="l" rtl="0" eaLnBrk="0" fontAlgn="base" hangingPunct="0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 panose="020B0403030403020204" pitchFamily="34" charset="0"/>
              </a:defRPr>
            </a:lvl5pPr>
            <a:lvl6pPr marL="37719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600" i="0" u="none" strike="noStrike" kern="1200" cap="none" spc="0" normalizeH="0" baseline="0" noProof="0">
                <a:ln>
                  <a:noFill/>
                </a:ln>
                <a:solidFill>
                  <a:srgbClr val="E3061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ABECA70-46FF-DB64-DB33-D9C0B014B939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1252085" y="551543"/>
            <a:ext cx="0" cy="5373007"/>
          </a:xfrm>
          <a:prstGeom prst="line">
            <a:avLst/>
          </a:prstGeom>
          <a:ln w="50800">
            <a:solidFill>
              <a:srgbClr val="E306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F09D7CA-732A-0D98-C476-E9C52FD3155E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1722438" y="5110163"/>
            <a:ext cx="9964736" cy="681037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00" b="0">
                <a:solidFill>
                  <a:srgbClr val="E30613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800" i="1">
                <a:latin typeface="Source Serif Pro" panose="02040603050405020204" pitchFamily="18" charset="0"/>
                <a:ea typeface="Source Serif Pro" panose="02040603050405020204" pitchFamily="18" charset="0"/>
                <a:cs typeface="Times New Roman" panose="02020603050405020304" pitchFamily="18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801631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49E35F-1FDB-FA8C-79C3-771224430B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809C5E16-D5F6-E9FC-B69D-4811B87E30E0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1"/>
            </p:custDataLst>
          </p:nvPr>
        </p:nvSpPr>
        <p:spPr>
          <a:xfrm>
            <a:off x="523073" y="1152143"/>
            <a:ext cx="11164101" cy="4648201"/>
          </a:xfrm>
        </p:spPr>
        <p:txBody>
          <a:bodyPr anchor="ctr" anchorCtr="0"/>
          <a:lstStyle>
            <a:lvl1pPr>
              <a:spcBef>
                <a:spcPts val="800"/>
              </a:spcBef>
              <a:spcAft>
                <a:spcPts val="0"/>
              </a:spcAft>
              <a:defRPr sz="6000" b="0">
                <a:solidFill>
                  <a:srgbClr val="131E29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800" i="1">
                <a:latin typeface="Source Serif Pro" panose="02040603050405020204" pitchFamily="18" charset="0"/>
                <a:ea typeface="Source Serif Pro" panose="02040603050405020204" pitchFamily="18" charset="0"/>
                <a:cs typeface="Times New Roman" panose="02020603050405020304" pitchFamily="18" charset="0"/>
              </a:defRPr>
            </a:lvl2pPr>
          </a:lstStyle>
          <a:p>
            <a:pPr lvl="0"/>
            <a:r>
              <a:rPr lang="en-US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1696572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B92063-2B2C-7980-66E3-40AF0F1DE67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17F3560-AD84-628A-2103-85F47DBADEB2}"/>
              </a:ext>
            </a:extLst>
          </p:cNvPr>
          <p:cNvSpPr>
            <a:spLocks noGrp="1"/>
          </p:cNvSpPr>
          <p:nvPr>
            <p:ph type="chart" sz="quarter" idx="12"/>
            <p:custDataLst>
              <p:tags r:id="rId2"/>
            </p:custDataLst>
          </p:nvPr>
        </p:nvSpPr>
        <p:spPr>
          <a:xfrm>
            <a:off x="523073" y="1143000"/>
            <a:ext cx="11152990" cy="5094288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Slide Number Placeholder 19">
            <a:extLst>
              <a:ext uri="{FF2B5EF4-FFF2-40B4-BE49-F238E27FC236}">
                <a16:creationId xmlns:a16="http://schemas.microsoft.com/office/drawing/2014/main" id="{50F67038-C3E9-9A6C-13C9-8BEEFAFE30B3}"/>
              </a:ext>
            </a:extLst>
          </p:cNvPr>
          <p:cNvSpPr>
            <a:spLocks noGrp="1"/>
          </p:cNvSpPr>
          <p:nvPr>
            <p:ph type="sldNum" sz="quarter" idx="27"/>
            <p:custDataLst>
              <p:tags r:id="rId3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0798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7BCC4-405B-755F-B5CC-7B9E91250AC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19">
            <a:extLst>
              <a:ext uri="{FF2B5EF4-FFF2-40B4-BE49-F238E27FC236}">
                <a16:creationId xmlns:a16="http://schemas.microsoft.com/office/drawing/2014/main" id="{F0B14C5E-AD37-2289-53C4-62CB733A30FC}"/>
              </a:ext>
            </a:extLst>
          </p:cNvPr>
          <p:cNvSpPr>
            <a:spLocks noGrp="1"/>
          </p:cNvSpPr>
          <p:nvPr>
            <p:ph type="sldNum" sz="quarter" idx="27"/>
            <p:custDataLst>
              <p:tags r:id="rId2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2368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7BCC4-405B-755F-B5CC-7B9E91250AC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19">
            <a:extLst>
              <a:ext uri="{FF2B5EF4-FFF2-40B4-BE49-F238E27FC236}">
                <a16:creationId xmlns:a16="http://schemas.microsoft.com/office/drawing/2014/main" id="{F0B14C5E-AD37-2289-53C4-62CB733A30FC}"/>
              </a:ext>
            </a:extLst>
          </p:cNvPr>
          <p:cNvSpPr>
            <a:spLocks noGrp="1"/>
          </p:cNvSpPr>
          <p:nvPr>
            <p:ph type="sldNum" sz="quarter" idx="27"/>
            <p:custDataLst>
              <p:tags r:id="rId2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Arrow: Chevron 3">
            <a:extLst>
              <a:ext uri="{FF2B5EF4-FFF2-40B4-BE49-F238E27FC236}">
                <a16:creationId xmlns:a16="http://schemas.microsoft.com/office/drawing/2014/main" id="{8B41851D-41E3-7C68-0E3B-C6A1A3A8F6A2}"/>
              </a:ext>
            </a:extLst>
          </p:cNvPr>
          <p:cNvSpPr/>
          <p:nvPr userDrawn="1"/>
        </p:nvSpPr>
        <p:spPr>
          <a:xfrm>
            <a:off x="7493650" y="2912853"/>
            <a:ext cx="2087986" cy="1237399"/>
          </a:xfrm>
          <a:prstGeom prst="chevron">
            <a:avLst>
              <a:gd name="adj" fmla="val 40435"/>
            </a:avLst>
          </a:prstGeom>
          <a:solidFill>
            <a:srgbClr val="BCDEE6">
              <a:alpha val="82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73">
            <a:extLst>
              <a:ext uri="{FF2B5EF4-FFF2-40B4-BE49-F238E27FC236}">
                <a16:creationId xmlns:a16="http://schemas.microsoft.com/office/drawing/2014/main" id="{A45FFAEB-3A35-62E5-608D-F6E806DC8CD0}"/>
              </a:ext>
            </a:extLst>
          </p:cNvPr>
          <p:cNvSpPr/>
          <p:nvPr userDrawn="1"/>
        </p:nvSpPr>
        <p:spPr>
          <a:xfrm flipV="1">
            <a:off x="7705830" y="3040349"/>
            <a:ext cx="1682638" cy="2312623"/>
          </a:xfrm>
          <a:custGeom>
            <a:avLst/>
            <a:gdLst>
              <a:gd name="connsiteX0" fmla="*/ 1149957 w 1554208"/>
              <a:gd name="connsiteY0" fmla="*/ 2183669 h 2183668"/>
              <a:gd name="connsiteX1" fmla="*/ 1554209 w 1554208"/>
              <a:gd name="connsiteY1" fmla="*/ 1718551 h 2183668"/>
              <a:gd name="connsiteX2" fmla="*/ 1139417 w 1554208"/>
              <a:gd name="connsiteY2" fmla="*/ 1249260 h 2183668"/>
              <a:gd name="connsiteX3" fmla="*/ 0 w 1554208"/>
              <a:gd name="connsiteY3" fmla="*/ 1252407 h 2183668"/>
              <a:gd name="connsiteX4" fmla="*/ 1405 w 1554208"/>
              <a:gd name="connsiteY4" fmla="*/ 0 h 2183668"/>
              <a:gd name="connsiteX0" fmla="*/ 1149957 w 1554209"/>
              <a:gd name="connsiteY0" fmla="*/ 2183669 h 2183669"/>
              <a:gd name="connsiteX1" fmla="*/ 1554209 w 1554209"/>
              <a:gd name="connsiteY1" fmla="*/ 1718551 h 2183669"/>
              <a:gd name="connsiteX2" fmla="*/ 1174977 w 1554209"/>
              <a:gd name="connsiteY2" fmla="*/ 1249260 h 2183669"/>
              <a:gd name="connsiteX3" fmla="*/ 0 w 1554209"/>
              <a:gd name="connsiteY3" fmla="*/ 1252407 h 2183669"/>
              <a:gd name="connsiteX4" fmla="*/ 1405 w 1554209"/>
              <a:gd name="connsiteY4" fmla="*/ 0 h 2183669"/>
              <a:gd name="connsiteX0" fmla="*/ 1149957 w 1554209"/>
              <a:gd name="connsiteY0" fmla="*/ 2183669 h 2183669"/>
              <a:gd name="connsiteX1" fmla="*/ 1554209 w 1554209"/>
              <a:gd name="connsiteY1" fmla="*/ 1718551 h 2183669"/>
              <a:gd name="connsiteX2" fmla="*/ 1174977 w 1554209"/>
              <a:gd name="connsiteY2" fmla="*/ 1249260 h 2183669"/>
              <a:gd name="connsiteX3" fmla="*/ 0 w 1554209"/>
              <a:gd name="connsiteY3" fmla="*/ 1247327 h 2183669"/>
              <a:gd name="connsiteX4" fmla="*/ 1405 w 1554209"/>
              <a:gd name="connsiteY4" fmla="*/ 0 h 2183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4209" h="2183669">
                <a:moveTo>
                  <a:pt x="1149957" y="2183669"/>
                </a:moveTo>
                <a:lnTo>
                  <a:pt x="1554209" y="1718551"/>
                </a:lnTo>
                <a:lnTo>
                  <a:pt x="1174977" y="1249260"/>
                </a:lnTo>
                <a:lnTo>
                  <a:pt x="0" y="1247327"/>
                </a:lnTo>
                <a:cubicBezTo>
                  <a:pt x="468" y="829858"/>
                  <a:pt x="937" y="417469"/>
                  <a:pt x="1405" y="0"/>
                </a:cubicBezTo>
              </a:path>
            </a:pathLst>
          </a:custGeom>
          <a:noFill/>
          <a:ln w="6350" cap="flat">
            <a:solidFill>
              <a:srgbClr val="353B4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89B78F2E-2B9E-18BC-4F38-3C7BD5247D29}"/>
              </a:ext>
            </a:extLst>
          </p:cNvPr>
          <p:cNvSpPr/>
          <p:nvPr userDrawn="1"/>
        </p:nvSpPr>
        <p:spPr>
          <a:xfrm>
            <a:off x="515937" y="2912853"/>
            <a:ext cx="2087986" cy="1237399"/>
          </a:xfrm>
          <a:prstGeom prst="chevron">
            <a:avLst>
              <a:gd name="adj" fmla="val 40435"/>
            </a:avLst>
          </a:prstGeom>
          <a:solidFill>
            <a:srgbClr val="BCDEE6">
              <a:alpha val="2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Graphic 73">
            <a:extLst>
              <a:ext uri="{FF2B5EF4-FFF2-40B4-BE49-F238E27FC236}">
                <a16:creationId xmlns:a16="http://schemas.microsoft.com/office/drawing/2014/main" id="{518583AC-43DC-BE0A-6D30-E14915FE43A6}"/>
              </a:ext>
            </a:extLst>
          </p:cNvPr>
          <p:cNvSpPr/>
          <p:nvPr userDrawn="1"/>
        </p:nvSpPr>
        <p:spPr>
          <a:xfrm flipV="1">
            <a:off x="715427" y="3024209"/>
            <a:ext cx="1682638" cy="2312623"/>
          </a:xfrm>
          <a:custGeom>
            <a:avLst/>
            <a:gdLst>
              <a:gd name="connsiteX0" fmla="*/ 1149957 w 1554208"/>
              <a:gd name="connsiteY0" fmla="*/ 2183669 h 2183668"/>
              <a:gd name="connsiteX1" fmla="*/ 1554209 w 1554208"/>
              <a:gd name="connsiteY1" fmla="*/ 1718551 h 2183668"/>
              <a:gd name="connsiteX2" fmla="*/ 1139417 w 1554208"/>
              <a:gd name="connsiteY2" fmla="*/ 1249260 h 2183668"/>
              <a:gd name="connsiteX3" fmla="*/ 0 w 1554208"/>
              <a:gd name="connsiteY3" fmla="*/ 1252407 h 2183668"/>
              <a:gd name="connsiteX4" fmla="*/ 1405 w 1554208"/>
              <a:gd name="connsiteY4" fmla="*/ 0 h 2183668"/>
              <a:gd name="connsiteX0" fmla="*/ 1149957 w 1554209"/>
              <a:gd name="connsiteY0" fmla="*/ 2183669 h 2183669"/>
              <a:gd name="connsiteX1" fmla="*/ 1554209 w 1554209"/>
              <a:gd name="connsiteY1" fmla="*/ 1718551 h 2183669"/>
              <a:gd name="connsiteX2" fmla="*/ 1174977 w 1554209"/>
              <a:gd name="connsiteY2" fmla="*/ 1249260 h 2183669"/>
              <a:gd name="connsiteX3" fmla="*/ 0 w 1554209"/>
              <a:gd name="connsiteY3" fmla="*/ 1252407 h 2183669"/>
              <a:gd name="connsiteX4" fmla="*/ 1405 w 1554209"/>
              <a:gd name="connsiteY4" fmla="*/ 0 h 2183669"/>
              <a:gd name="connsiteX0" fmla="*/ 1149957 w 1554209"/>
              <a:gd name="connsiteY0" fmla="*/ 2183669 h 2183669"/>
              <a:gd name="connsiteX1" fmla="*/ 1554209 w 1554209"/>
              <a:gd name="connsiteY1" fmla="*/ 1718551 h 2183669"/>
              <a:gd name="connsiteX2" fmla="*/ 1174977 w 1554209"/>
              <a:gd name="connsiteY2" fmla="*/ 1249260 h 2183669"/>
              <a:gd name="connsiteX3" fmla="*/ 0 w 1554209"/>
              <a:gd name="connsiteY3" fmla="*/ 1247327 h 2183669"/>
              <a:gd name="connsiteX4" fmla="*/ 1405 w 1554209"/>
              <a:gd name="connsiteY4" fmla="*/ 0 h 2183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4209" h="2183669">
                <a:moveTo>
                  <a:pt x="1149957" y="2183669"/>
                </a:moveTo>
                <a:lnTo>
                  <a:pt x="1554209" y="1718551"/>
                </a:lnTo>
                <a:lnTo>
                  <a:pt x="1174977" y="1249260"/>
                </a:lnTo>
                <a:lnTo>
                  <a:pt x="0" y="1247327"/>
                </a:lnTo>
                <a:cubicBezTo>
                  <a:pt x="468" y="829858"/>
                  <a:pt x="937" y="417469"/>
                  <a:pt x="1405" y="0"/>
                </a:cubicBezTo>
              </a:path>
            </a:pathLst>
          </a:custGeom>
          <a:noFill/>
          <a:ln w="6350" cap="flat">
            <a:solidFill>
              <a:srgbClr val="353B4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D0EBE3F9-16DC-F9E4-7C8E-4882C5BBAA84}"/>
              </a:ext>
            </a:extLst>
          </p:cNvPr>
          <p:cNvSpPr/>
          <p:nvPr userDrawn="1"/>
        </p:nvSpPr>
        <p:spPr>
          <a:xfrm>
            <a:off x="9216150" y="2912853"/>
            <a:ext cx="2087986" cy="1237399"/>
          </a:xfrm>
          <a:prstGeom prst="chevron">
            <a:avLst>
              <a:gd name="adj" fmla="val 40435"/>
            </a:avLst>
          </a:prstGeom>
          <a:solidFill>
            <a:srgbClr val="BCDEE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Graphic 73">
            <a:extLst>
              <a:ext uri="{FF2B5EF4-FFF2-40B4-BE49-F238E27FC236}">
                <a16:creationId xmlns:a16="http://schemas.microsoft.com/office/drawing/2014/main" id="{29F6538F-211E-0C58-44E5-2106135F47AA}"/>
              </a:ext>
            </a:extLst>
          </p:cNvPr>
          <p:cNvSpPr/>
          <p:nvPr userDrawn="1"/>
        </p:nvSpPr>
        <p:spPr>
          <a:xfrm>
            <a:off x="9457025" y="1718466"/>
            <a:ext cx="1645991" cy="2312623"/>
          </a:xfrm>
          <a:custGeom>
            <a:avLst/>
            <a:gdLst>
              <a:gd name="connsiteX0" fmla="*/ 1149957 w 1554208"/>
              <a:gd name="connsiteY0" fmla="*/ 2183669 h 2183668"/>
              <a:gd name="connsiteX1" fmla="*/ 1554209 w 1554208"/>
              <a:gd name="connsiteY1" fmla="*/ 1718551 h 2183668"/>
              <a:gd name="connsiteX2" fmla="*/ 1139417 w 1554208"/>
              <a:gd name="connsiteY2" fmla="*/ 1249260 h 2183668"/>
              <a:gd name="connsiteX3" fmla="*/ 0 w 1554208"/>
              <a:gd name="connsiteY3" fmla="*/ 1252407 h 2183668"/>
              <a:gd name="connsiteX4" fmla="*/ 1405 w 1554208"/>
              <a:gd name="connsiteY4" fmla="*/ 0 h 2183668"/>
              <a:gd name="connsiteX0" fmla="*/ 1149957 w 1554209"/>
              <a:gd name="connsiteY0" fmla="*/ 2183669 h 2183669"/>
              <a:gd name="connsiteX1" fmla="*/ 1554209 w 1554209"/>
              <a:gd name="connsiteY1" fmla="*/ 1718551 h 2183669"/>
              <a:gd name="connsiteX2" fmla="*/ 1174977 w 1554209"/>
              <a:gd name="connsiteY2" fmla="*/ 1249260 h 2183669"/>
              <a:gd name="connsiteX3" fmla="*/ 0 w 1554209"/>
              <a:gd name="connsiteY3" fmla="*/ 1252407 h 2183669"/>
              <a:gd name="connsiteX4" fmla="*/ 1405 w 1554209"/>
              <a:gd name="connsiteY4" fmla="*/ 0 h 2183669"/>
              <a:gd name="connsiteX0" fmla="*/ 1149957 w 1554209"/>
              <a:gd name="connsiteY0" fmla="*/ 2183669 h 2183669"/>
              <a:gd name="connsiteX1" fmla="*/ 1554209 w 1554209"/>
              <a:gd name="connsiteY1" fmla="*/ 1718551 h 2183669"/>
              <a:gd name="connsiteX2" fmla="*/ 1174977 w 1554209"/>
              <a:gd name="connsiteY2" fmla="*/ 1249260 h 2183669"/>
              <a:gd name="connsiteX3" fmla="*/ 0 w 1554209"/>
              <a:gd name="connsiteY3" fmla="*/ 1247327 h 2183669"/>
              <a:gd name="connsiteX4" fmla="*/ 1405 w 1554209"/>
              <a:gd name="connsiteY4" fmla="*/ 0 h 2183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4209" h="2183669">
                <a:moveTo>
                  <a:pt x="1149957" y="2183669"/>
                </a:moveTo>
                <a:lnTo>
                  <a:pt x="1554209" y="1718551"/>
                </a:lnTo>
                <a:lnTo>
                  <a:pt x="1174977" y="1249260"/>
                </a:lnTo>
                <a:lnTo>
                  <a:pt x="0" y="1247327"/>
                </a:lnTo>
                <a:cubicBezTo>
                  <a:pt x="468" y="829858"/>
                  <a:pt x="937" y="417469"/>
                  <a:pt x="1405" y="0"/>
                </a:cubicBezTo>
              </a:path>
            </a:pathLst>
          </a:custGeom>
          <a:noFill/>
          <a:ln w="6350" cap="flat">
            <a:solidFill>
              <a:srgbClr val="353B4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A5270BD6-B067-1B52-B31E-88328BCA5274}"/>
              </a:ext>
            </a:extLst>
          </p:cNvPr>
          <p:cNvSpPr/>
          <p:nvPr userDrawn="1"/>
        </p:nvSpPr>
        <p:spPr>
          <a:xfrm>
            <a:off x="5699683" y="2912853"/>
            <a:ext cx="2087986" cy="1237399"/>
          </a:xfrm>
          <a:prstGeom prst="chevron">
            <a:avLst>
              <a:gd name="adj" fmla="val 40435"/>
            </a:avLst>
          </a:prstGeom>
          <a:solidFill>
            <a:srgbClr val="BCDEE6">
              <a:alpha val="64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Graphic 73">
            <a:extLst>
              <a:ext uri="{FF2B5EF4-FFF2-40B4-BE49-F238E27FC236}">
                <a16:creationId xmlns:a16="http://schemas.microsoft.com/office/drawing/2014/main" id="{A4883B0B-7AA5-B41F-32D8-60DCA21C3D04}"/>
              </a:ext>
            </a:extLst>
          </p:cNvPr>
          <p:cNvSpPr/>
          <p:nvPr userDrawn="1"/>
        </p:nvSpPr>
        <p:spPr>
          <a:xfrm>
            <a:off x="5972874" y="1718466"/>
            <a:ext cx="1645991" cy="2312623"/>
          </a:xfrm>
          <a:custGeom>
            <a:avLst/>
            <a:gdLst>
              <a:gd name="connsiteX0" fmla="*/ 1149957 w 1554208"/>
              <a:gd name="connsiteY0" fmla="*/ 2183669 h 2183668"/>
              <a:gd name="connsiteX1" fmla="*/ 1554209 w 1554208"/>
              <a:gd name="connsiteY1" fmla="*/ 1718551 h 2183668"/>
              <a:gd name="connsiteX2" fmla="*/ 1139417 w 1554208"/>
              <a:gd name="connsiteY2" fmla="*/ 1249260 h 2183668"/>
              <a:gd name="connsiteX3" fmla="*/ 0 w 1554208"/>
              <a:gd name="connsiteY3" fmla="*/ 1252407 h 2183668"/>
              <a:gd name="connsiteX4" fmla="*/ 1405 w 1554208"/>
              <a:gd name="connsiteY4" fmla="*/ 0 h 2183668"/>
              <a:gd name="connsiteX0" fmla="*/ 1149957 w 1554209"/>
              <a:gd name="connsiteY0" fmla="*/ 2183669 h 2183669"/>
              <a:gd name="connsiteX1" fmla="*/ 1554209 w 1554209"/>
              <a:gd name="connsiteY1" fmla="*/ 1718551 h 2183669"/>
              <a:gd name="connsiteX2" fmla="*/ 1174977 w 1554209"/>
              <a:gd name="connsiteY2" fmla="*/ 1249260 h 2183669"/>
              <a:gd name="connsiteX3" fmla="*/ 0 w 1554209"/>
              <a:gd name="connsiteY3" fmla="*/ 1252407 h 2183669"/>
              <a:gd name="connsiteX4" fmla="*/ 1405 w 1554209"/>
              <a:gd name="connsiteY4" fmla="*/ 0 h 2183669"/>
              <a:gd name="connsiteX0" fmla="*/ 1149957 w 1554209"/>
              <a:gd name="connsiteY0" fmla="*/ 2183669 h 2183669"/>
              <a:gd name="connsiteX1" fmla="*/ 1554209 w 1554209"/>
              <a:gd name="connsiteY1" fmla="*/ 1718551 h 2183669"/>
              <a:gd name="connsiteX2" fmla="*/ 1174977 w 1554209"/>
              <a:gd name="connsiteY2" fmla="*/ 1249260 h 2183669"/>
              <a:gd name="connsiteX3" fmla="*/ 0 w 1554209"/>
              <a:gd name="connsiteY3" fmla="*/ 1247327 h 2183669"/>
              <a:gd name="connsiteX4" fmla="*/ 1405 w 1554209"/>
              <a:gd name="connsiteY4" fmla="*/ 0 h 2183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4209" h="2183669">
                <a:moveTo>
                  <a:pt x="1149957" y="2183669"/>
                </a:moveTo>
                <a:lnTo>
                  <a:pt x="1554209" y="1718551"/>
                </a:lnTo>
                <a:lnTo>
                  <a:pt x="1174977" y="1249260"/>
                </a:lnTo>
                <a:lnTo>
                  <a:pt x="0" y="1247327"/>
                </a:lnTo>
                <a:cubicBezTo>
                  <a:pt x="468" y="829858"/>
                  <a:pt x="937" y="417469"/>
                  <a:pt x="1405" y="0"/>
                </a:cubicBezTo>
              </a:path>
            </a:pathLst>
          </a:custGeom>
          <a:noFill/>
          <a:ln w="6350" cap="flat">
            <a:solidFill>
              <a:srgbClr val="353B4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59CB3F32-FF5E-7228-39FB-CFFEDA0364F1}"/>
              </a:ext>
            </a:extLst>
          </p:cNvPr>
          <p:cNvSpPr/>
          <p:nvPr userDrawn="1"/>
        </p:nvSpPr>
        <p:spPr>
          <a:xfrm>
            <a:off x="2238436" y="2912853"/>
            <a:ext cx="2087986" cy="1237399"/>
          </a:xfrm>
          <a:prstGeom prst="chevron">
            <a:avLst>
              <a:gd name="adj" fmla="val 40435"/>
            </a:avLst>
          </a:prstGeom>
          <a:solidFill>
            <a:srgbClr val="BCDEE6">
              <a:alpha val="28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2C2868F6-FA40-C937-0029-52799B77172A}"/>
              </a:ext>
            </a:extLst>
          </p:cNvPr>
          <p:cNvSpPr/>
          <p:nvPr userDrawn="1"/>
        </p:nvSpPr>
        <p:spPr>
          <a:xfrm>
            <a:off x="3977184" y="2912853"/>
            <a:ext cx="2087986" cy="1237399"/>
          </a:xfrm>
          <a:prstGeom prst="chevron">
            <a:avLst>
              <a:gd name="adj" fmla="val 40435"/>
            </a:avLst>
          </a:prstGeom>
          <a:solidFill>
            <a:srgbClr val="BCDEE6">
              <a:alpha val="46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8939FC8-CA1D-132E-5E42-4F083084A652}"/>
              </a:ext>
            </a:extLst>
          </p:cNvPr>
          <p:cNvSpPr/>
          <p:nvPr userDrawn="1"/>
        </p:nvSpPr>
        <p:spPr>
          <a:xfrm>
            <a:off x="1272714" y="3237452"/>
            <a:ext cx="597544" cy="597544"/>
          </a:xfrm>
          <a:custGeom>
            <a:avLst/>
            <a:gdLst>
              <a:gd name="connsiteX0" fmla="*/ 564225 w 564224"/>
              <a:gd name="connsiteY0" fmla="*/ 282113 h 564224"/>
              <a:gd name="connsiteX1" fmla="*/ 282112 w 564224"/>
              <a:gd name="connsiteY1" fmla="*/ 564225 h 564224"/>
              <a:gd name="connsiteX2" fmla="*/ 0 w 564224"/>
              <a:gd name="connsiteY2" fmla="*/ 282113 h 564224"/>
              <a:gd name="connsiteX3" fmla="*/ 282112 w 564224"/>
              <a:gd name="connsiteY3" fmla="*/ 0 h 564224"/>
              <a:gd name="connsiteX4" fmla="*/ 564225 w 564224"/>
              <a:gd name="connsiteY4" fmla="*/ 282113 h 564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4224" h="564224">
                <a:moveTo>
                  <a:pt x="564225" y="282113"/>
                </a:moveTo>
                <a:cubicBezTo>
                  <a:pt x="564225" y="437919"/>
                  <a:pt x="437919" y="564225"/>
                  <a:pt x="282112" y="564225"/>
                </a:cubicBezTo>
                <a:cubicBezTo>
                  <a:pt x="126306" y="564225"/>
                  <a:pt x="0" y="437919"/>
                  <a:pt x="0" y="282113"/>
                </a:cubicBezTo>
                <a:cubicBezTo>
                  <a:pt x="0" y="126306"/>
                  <a:pt x="126306" y="0"/>
                  <a:pt x="282112" y="0"/>
                </a:cubicBezTo>
                <a:cubicBezTo>
                  <a:pt x="437919" y="0"/>
                  <a:pt x="564225" y="126306"/>
                  <a:pt x="564225" y="282113"/>
                </a:cubicBezTo>
                <a:close/>
              </a:path>
            </a:pathLst>
          </a:custGeom>
          <a:solidFill>
            <a:srgbClr val="FFFFFF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BCEDF0A3-9E39-4886-92AA-C65521F4067A}"/>
              </a:ext>
            </a:extLst>
          </p:cNvPr>
          <p:cNvSpPr/>
          <p:nvPr userDrawn="1"/>
        </p:nvSpPr>
        <p:spPr>
          <a:xfrm>
            <a:off x="1925192" y="2991847"/>
            <a:ext cx="81483" cy="81483"/>
          </a:xfrm>
          <a:custGeom>
            <a:avLst/>
            <a:gdLst>
              <a:gd name="connsiteX0" fmla="*/ 76940 w 76939"/>
              <a:gd name="connsiteY0" fmla="*/ 38470 h 76939"/>
              <a:gd name="connsiteX1" fmla="*/ 38470 w 76939"/>
              <a:gd name="connsiteY1" fmla="*/ 76940 h 76939"/>
              <a:gd name="connsiteX2" fmla="*/ 0 w 76939"/>
              <a:gd name="connsiteY2" fmla="*/ 38470 h 76939"/>
              <a:gd name="connsiteX3" fmla="*/ 38470 w 76939"/>
              <a:gd name="connsiteY3" fmla="*/ 0 h 76939"/>
              <a:gd name="connsiteX4" fmla="*/ 76940 w 76939"/>
              <a:gd name="connsiteY4" fmla="*/ 38470 h 76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39" h="76939">
                <a:moveTo>
                  <a:pt x="76940" y="38470"/>
                </a:moveTo>
                <a:cubicBezTo>
                  <a:pt x="76940" y="59716"/>
                  <a:pt x="59716" y="76940"/>
                  <a:pt x="38470" y="76940"/>
                </a:cubicBezTo>
                <a:cubicBezTo>
                  <a:pt x="17224" y="76940"/>
                  <a:pt x="0" y="59716"/>
                  <a:pt x="0" y="38470"/>
                </a:cubicBezTo>
                <a:cubicBezTo>
                  <a:pt x="0" y="17224"/>
                  <a:pt x="17224" y="0"/>
                  <a:pt x="38470" y="0"/>
                </a:cubicBezTo>
                <a:cubicBezTo>
                  <a:pt x="59716" y="0"/>
                  <a:pt x="76940" y="17224"/>
                  <a:pt x="76940" y="38470"/>
                </a:cubicBezTo>
                <a:close/>
              </a:path>
            </a:pathLst>
          </a:custGeom>
          <a:solidFill>
            <a:schemeClr val="tx1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CA53BC5-65D7-8385-D319-58D0A00EFA3C}"/>
              </a:ext>
            </a:extLst>
          </p:cNvPr>
          <p:cNvSpPr/>
          <p:nvPr userDrawn="1"/>
        </p:nvSpPr>
        <p:spPr>
          <a:xfrm>
            <a:off x="515937" y="5353983"/>
            <a:ext cx="390440" cy="390440"/>
          </a:xfrm>
          <a:custGeom>
            <a:avLst/>
            <a:gdLst>
              <a:gd name="connsiteX0" fmla="*/ 184335 w 368669"/>
              <a:gd name="connsiteY0" fmla="*/ 368670 h 368669"/>
              <a:gd name="connsiteX1" fmla="*/ 0 w 368669"/>
              <a:gd name="connsiteY1" fmla="*/ 184335 h 368669"/>
              <a:gd name="connsiteX2" fmla="*/ 184335 w 368669"/>
              <a:gd name="connsiteY2" fmla="*/ 0 h 368669"/>
              <a:gd name="connsiteX3" fmla="*/ 368670 w 368669"/>
              <a:gd name="connsiteY3" fmla="*/ 184335 h 368669"/>
              <a:gd name="connsiteX4" fmla="*/ 184335 w 368669"/>
              <a:gd name="connsiteY4" fmla="*/ 368670 h 368669"/>
              <a:gd name="connsiteX5" fmla="*/ 184335 w 368669"/>
              <a:gd name="connsiteY5" fmla="*/ 9617 h 368669"/>
              <a:gd name="connsiteX6" fmla="*/ 9617 w 368669"/>
              <a:gd name="connsiteY6" fmla="*/ 184335 h 368669"/>
              <a:gd name="connsiteX7" fmla="*/ 184335 w 368669"/>
              <a:gd name="connsiteY7" fmla="*/ 359052 h 368669"/>
              <a:gd name="connsiteX8" fmla="*/ 359052 w 368669"/>
              <a:gd name="connsiteY8" fmla="*/ 184335 h 368669"/>
              <a:gd name="connsiteX9" fmla="*/ 184335 w 368669"/>
              <a:gd name="connsiteY9" fmla="*/ 9617 h 368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8669" h="368669">
                <a:moveTo>
                  <a:pt x="184335" y="368670"/>
                </a:moveTo>
                <a:cubicBezTo>
                  <a:pt x="82710" y="368670"/>
                  <a:pt x="0" y="285959"/>
                  <a:pt x="0" y="184335"/>
                </a:cubicBezTo>
                <a:cubicBezTo>
                  <a:pt x="0" y="82710"/>
                  <a:pt x="82710" y="0"/>
                  <a:pt x="184335" y="0"/>
                </a:cubicBezTo>
                <a:cubicBezTo>
                  <a:pt x="285959" y="0"/>
                  <a:pt x="368670" y="82710"/>
                  <a:pt x="368670" y="184335"/>
                </a:cubicBezTo>
                <a:cubicBezTo>
                  <a:pt x="368670" y="285959"/>
                  <a:pt x="285959" y="368670"/>
                  <a:pt x="184335" y="368670"/>
                </a:cubicBezTo>
                <a:close/>
                <a:moveTo>
                  <a:pt x="184335" y="9617"/>
                </a:moveTo>
                <a:cubicBezTo>
                  <a:pt x="87968" y="9617"/>
                  <a:pt x="9617" y="87968"/>
                  <a:pt x="9617" y="184335"/>
                </a:cubicBezTo>
                <a:cubicBezTo>
                  <a:pt x="9617" y="280702"/>
                  <a:pt x="87968" y="359052"/>
                  <a:pt x="184335" y="359052"/>
                </a:cubicBezTo>
                <a:cubicBezTo>
                  <a:pt x="280702" y="359052"/>
                  <a:pt x="359052" y="280702"/>
                  <a:pt x="359052" y="184335"/>
                </a:cubicBezTo>
                <a:cubicBezTo>
                  <a:pt x="359052" y="87968"/>
                  <a:pt x="280702" y="9617"/>
                  <a:pt x="184335" y="9617"/>
                </a:cubicBezTo>
                <a:close/>
              </a:path>
            </a:pathLst>
          </a:custGeom>
          <a:solidFill>
            <a:srgbClr val="353B41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60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5EBB8FC-9482-1D3D-CDD7-062D8358A441}"/>
              </a:ext>
            </a:extLst>
          </p:cNvPr>
          <p:cNvSpPr/>
          <p:nvPr userDrawn="1"/>
        </p:nvSpPr>
        <p:spPr>
          <a:xfrm>
            <a:off x="4772152" y="3237452"/>
            <a:ext cx="597544" cy="597544"/>
          </a:xfrm>
          <a:custGeom>
            <a:avLst/>
            <a:gdLst>
              <a:gd name="connsiteX0" fmla="*/ 564225 w 564224"/>
              <a:gd name="connsiteY0" fmla="*/ 282113 h 564224"/>
              <a:gd name="connsiteX1" fmla="*/ 282112 w 564224"/>
              <a:gd name="connsiteY1" fmla="*/ 564225 h 564224"/>
              <a:gd name="connsiteX2" fmla="*/ 0 w 564224"/>
              <a:gd name="connsiteY2" fmla="*/ 282113 h 564224"/>
              <a:gd name="connsiteX3" fmla="*/ 282112 w 564224"/>
              <a:gd name="connsiteY3" fmla="*/ 0 h 564224"/>
              <a:gd name="connsiteX4" fmla="*/ 564225 w 564224"/>
              <a:gd name="connsiteY4" fmla="*/ 282113 h 564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4224" h="564224">
                <a:moveTo>
                  <a:pt x="564225" y="282113"/>
                </a:moveTo>
                <a:cubicBezTo>
                  <a:pt x="564225" y="437919"/>
                  <a:pt x="437919" y="564225"/>
                  <a:pt x="282112" y="564225"/>
                </a:cubicBezTo>
                <a:cubicBezTo>
                  <a:pt x="126306" y="564225"/>
                  <a:pt x="0" y="437919"/>
                  <a:pt x="0" y="282113"/>
                </a:cubicBezTo>
                <a:cubicBezTo>
                  <a:pt x="0" y="126306"/>
                  <a:pt x="126306" y="0"/>
                  <a:pt x="282112" y="0"/>
                </a:cubicBezTo>
                <a:cubicBezTo>
                  <a:pt x="437919" y="0"/>
                  <a:pt x="564225" y="126306"/>
                  <a:pt x="564225" y="282113"/>
                </a:cubicBezTo>
                <a:close/>
              </a:path>
            </a:pathLst>
          </a:custGeom>
          <a:solidFill>
            <a:srgbClr val="FFFFFF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9625C79D-4C6D-C3C3-379B-686A60FD3503}"/>
              </a:ext>
            </a:extLst>
          </p:cNvPr>
          <p:cNvSpPr/>
          <p:nvPr userDrawn="1"/>
        </p:nvSpPr>
        <p:spPr>
          <a:xfrm>
            <a:off x="5424562" y="2991847"/>
            <a:ext cx="81483" cy="81483"/>
          </a:xfrm>
          <a:custGeom>
            <a:avLst/>
            <a:gdLst>
              <a:gd name="connsiteX0" fmla="*/ 76940 w 76939"/>
              <a:gd name="connsiteY0" fmla="*/ 38470 h 76939"/>
              <a:gd name="connsiteX1" fmla="*/ 38470 w 76939"/>
              <a:gd name="connsiteY1" fmla="*/ 76940 h 76939"/>
              <a:gd name="connsiteX2" fmla="*/ 0 w 76939"/>
              <a:gd name="connsiteY2" fmla="*/ 38470 h 76939"/>
              <a:gd name="connsiteX3" fmla="*/ 38470 w 76939"/>
              <a:gd name="connsiteY3" fmla="*/ 0 h 76939"/>
              <a:gd name="connsiteX4" fmla="*/ 76940 w 76939"/>
              <a:gd name="connsiteY4" fmla="*/ 38470 h 76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39" h="76939">
                <a:moveTo>
                  <a:pt x="76940" y="38470"/>
                </a:moveTo>
                <a:cubicBezTo>
                  <a:pt x="76940" y="59716"/>
                  <a:pt x="59716" y="76940"/>
                  <a:pt x="38470" y="76940"/>
                </a:cubicBezTo>
                <a:cubicBezTo>
                  <a:pt x="17224" y="76940"/>
                  <a:pt x="0" y="59716"/>
                  <a:pt x="0" y="38470"/>
                </a:cubicBezTo>
                <a:cubicBezTo>
                  <a:pt x="0" y="17224"/>
                  <a:pt x="17224" y="0"/>
                  <a:pt x="38470" y="0"/>
                </a:cubicBezTo>
                <a:cubicBezTo>
                  <a:pt x="59716" y="0"/>
                  <a:pt x="76940" y="17224"/>
                  <a:pt x="76940" y="38470"/>
                </a:cubicBezTo>
                <a:close/>
              </a:path>
            </a:pathLst>
          </a:custGeom>
          <a:solidFill>
            <a:schemeClr val="tx1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B4D55A9F-937C-71C2-9BE0-3D432B921968}"/>
              </a:ext>
            </a:extLst>
          </p:cNvPr>
          <p:cNvSpPr/>
          <p:nvPr userDrawn="1"/>
        </p:nvSpPr>
        <p:spPr>
          <a:xfrm>
            <a:off x="4015376" y="5353983"/>
            <a:ext cx="390440" cy="390440"/>
          </a:xfrm>
          <a:custGeom>
            <a:avLst/>
            <a:gdLst>
              <a:gd name="connsiteX0" fmla="*/ 184335 w 368669"/>
              <a:gd name="connsiteY0" fmla="*/ 368670 h 368669"/>
              <a:gd name="connsiteX1" fmla="*/ 0 w 368669"/>
              <a:gd name="connsiteY1" fmla="*/ 184335 h 368669"/>
              <a:gd name="connsiteX2" fmla="*/ 184335 w 368669"/>
              <a:gd name="connsiteY2" fmla="*/ 0 h 368669"/>
              <a:gd name="connsiteX3" fmla="*/ 368670 w 368669"/>
              <a:gd name="connsiteY3" fmla="*/ 184335 h 368669"/>
              <a:gd name="connsiteX4" fmla="*/ 184335 w 368669"/>
              <a:gd name="connsiteY4" fmla="*/ 368670 h 368669"/>
              <a:gd name="connsiteX5" fmla="*/ 184335 w 368669"/>
              <a:gd name="connsiteY5" fmla="*/ 9617 h 368669"/>
              <a:gd name="connsiteX6" fmla="*/ 9617 w 368669"/>
              <a:gd name="connsiteY6" fmla="*/ 184335 h 368669"/>
              <a:gd name="connsiteX7" fmla="*/ 184335 w 368669"/>
              <a:gd name="connsiteY7" fmla="*/ 359052 h 368669"/>
              <a:gd name="connsiteX8" fmla="*/ 359052 w 368669"/>
              <a:gd name="connsiteY8" fmla="*/ 184335 h 368669"/>
              <a:gd name="connsiteX9" fmla="*/ 184335 w 368669"/>
              <a:gd name="connsiteY9" fmla="*/ 9617 h 368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8669" h="368669">
                <a:moveTo>
                  <a:pt x="184335" y="368670"/>
                </a:moveTo>
                <a:cubicBezTo>
                  <a:pt x="82710" y="368670"/>
                  <a:pt x="0" y="285959"/>
                  <a:pt x="0" y="184335"/>
                </a:cubicBezTo>
                <a:cubicBezTo>
                  <a:pt x="0" y="82710"/>
                  <a:pt x="82710" y="0"/>
                  <a:pt x="184335" y="0"/>
                </a:cubicBezTo>
                <a:cubicBezTo>
                  <a:pt x="285960" y="0"/>
                  <a:pt x="368670" y="82710"/>
                  <a:pt x="368670" y="184335"/>
                </a:cubicBezTo>
                <a:cubicBezTo>
                  <a:pt x="368670" y="285959"/>
                  <a:pt x="285960" y="368670"/>
                  <a:pt x="184335" y="368670"/>
                </a:cubicBezTo>
                <a:close/>
                <a:moveTo>
                  <a:pt x="184335" y="9617"/>
                </a:moveTo>
                <a:cubicBezTo>
                  <a:pt x="87968" y="9617"/>
                  <a:pt x="9617" y="87968"/>
                  <a:pt x="9617" y="184335"/>
                </a:cubicBezTo>
                <a:cubicBezTo>
                  <a:pt x="9617" y="280702"/>
                  <a:pt x="87968" y="359052"/>
                  <a:pt x="184335" y="359052"/>
                </a:cubicBezTo>
                <a:cubicBezTo>
                  <a:pt x="280702" y="359052"/>
                  <a:pt x="359052" y="280702"/>
                  <a:pt x="359052" y="184335"/>
                </a:cubicBezTo>
                <a:cubicBezTo>
                  <a:pt x="359052" y="87968"/>
                  <a:pt x="280702" y="9617"/>
                  <a:pt x="184335" y="9617"/>
                </a:cubicBezTo>
                <a:close/>
              </a:path>
            </a:pathLst>
          </a:custGeom>
          <a:solidFill>
            <a:srgbClr val="353B41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6B8C474-DC4E-D321-6ABE-E8B03B287078}"/>
              </a:ext>
            </a:extLst>
          </p:cNvPr>
          <p:cNvSpPr/>
          <p:nvPr userDrawn="1"/>
        </p:nvSpPr>
        <p:spPr>
          <a:xfrm>
            <a:off x="8273627" y="3237452"/>
            <a:ext cx="597544" cy="597544"/>
          </a:xfrm>
          <a:custGeom>
            <a:avLst/>
            <a:gdLst>
              <a:gd name="connsiteX0" fmla="*/ 564225 w 564224"/>
              <a:gd name="connsiteY0" fmla="*/ 282113 h 564224"/>
              <a:gd name="connsiteX1" fmla="*/ 282112 w 564224"/>
              <a:gd name="connsiteY1" fmla="*/ 564225 h 564224"/>
              <a:gd name="connsiteX2" fmla="*/ 0 w 564224"/>
              <a:gd name="connsiteY2" fmla="*/ 282113 h 564224"/>
              <a:gd name="connsiteX3" fmla="*/ 282112 w 564224"/>
              <a:gd name="connsiteY3" fmla="*/ 0 h 564224"/>
              <a:gd name="connsiteX4" fmla="*/ 564225 w 564224"/>
              <a:gd name="connsiteY4" fmla="*/ 282113 h 564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4224" h="564224">
                <a:moveTo>
                  <a:pt x="564225" y="282113"/>
                </a:moveTo>
                <a:cubicBezTo>
                  <a:pt x="564225" y="437919"/>
                  <a:pt x="437919" y="564225"/>
                  <a:pt x="282112" y="564225"/>
                </a:cubicBezTo>
                <a:cubicBezTo>
                  <a:pt x="126306" y="564225"/>
                  <a:pt x="0" y="437919"/>
                  <a:pt x="0" y="282113"/>
                </a:cubicBezTo>
                <a:cubicBezTo>
                  <a:pt x="0" y="126306"/>
                  <a:pt x="126306" y="0"/>
                  <a:pt x="282112" y="0"/>
                </a:cubicBezTo>
                <a:cubicBezTo>
                  <a:pt x="437919" y="0"/>
                  <a:pt x="564225" y="126306"/>
                  <a:pt x="564225" y="282113"/>
                </a:cubicBezTo>
                <a:close/>
              </a:path>
            </a:pathLst>
          </a:custGeom>
          <a:solidFill>
            <a:srgbClr val="FFFFFF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C8F5FB4-3FED-1A56-9872-1A8E8326019E}"/>
              </a:ext>
            </a:extLst>
          </p:cNvPr>
          <p:cNvSpPr/>
          <p:nvPr userDrawn="1"/>
        </p:nvSpPr>
        <p:spPr>
          <a:xfrm>
            <a:off x="8926038" y="2991847"/>
            <a:ext cx="81483" cy="81483"/>
          </a:xfrm>
          <a:custGeom>
            <a:avLst/>
            <a:gdLst>
              <a:gd name="connsiteX0" fmla="*/ 76940 w 76939"/>
              <a:gd name="connsiteY0" fmla="*/ 38470 h 76939"/>
              <a:gd name="connsiteX1" fmla="*/ 38470 w 76939"/>
              <a:gd name="connsiteY1" fmla="*/ 76940 h 76939"/>
              <a:gd name="connsiteX2" fmla="*/ 0 w 76939"/>
              <a:gd name="connsiteY2" fmla="*/ 38470 h 76939"/>
              <a:gd name="connsiteX3" fmla="*/ 38470 w 76939"/>
              <a:gd name="connsiteY3" fmla="*/ 0 h 76939"/>
              <a:gd name="connsiteX4" fmla="*/ 76940 w 76939"/>
              <a:gd name="connsiteY4" fmla="*/ 38470 h 76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39" h="76939">
                <a:moveTo>
                  <a:pt x="76940" y="38470"/>
                </a:moveTo>
                <a:cubicBezTo>
                  <a:pt x="76940" y="59716"/>
                  <a:pt x="59717" y="76940"/>
                  <a:pt x="38470" y="76940"/>
                </a:cubicBezTo>
                <a:cubicBezTo>
                  <a:pt x="17224" y="76940"/>
                  <a:pt x="0" y="59716"/>
                  <a:pt x="0" y="38470"/>
                </a:cubicBezTo>
                <a:cubicBezTo>
                  <a:pt x="0" y="17224"/>
                  <a:pt x="17224" y="0"/>
                  <a:pt x="38470" y="0"/>
                </a:cubicBezTo>
                <a:cubicBezTo>
                  <a:pt x="59717" y="0"/>
                  <a:pt x="76940" y="17224"/>
                  <a:pt x="76940" y="38470"/>
                </a:cubicBezTo>
                <a:close/>
              </a:path>
            </a:pathLst>
          </a:custGeom>
          <a:solidFill>
            <a:schemeClr val="tx1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C174CBA-8B79-6393-0BED-9DAF74C1D9F9}"/>
              </a:ext>
            </a:extLst>
          </p:cNvPr>
          <p:cNvSpPr/>
          <p:nvPr userDrawn="1"/>
        </p:nvSpPr>
        <p:spPr>
          <a:xfrm>
            <a:off x="7516851" y="5353983"/>
            <a:ext cx="390440" cy="390440"/>
          </a:xfrm>
          <a:custGeom>
            <a:avLst/>
            <a:gdLst>
              <a:gd name="connsiteX0" fmla="*/ 184335 w 368669"/>
              <a:gd name="connsiteY0" fmla="*/ 368670 h 368669"/>
              <a:gd name="connsiteX1" fmla="*/ 0 w 368669"/>
              <a:gd name="connsiteY1" fmla="*/ 184335 h 368669"/>
              <a:gd name="connsiteX2" fmla="*/ 184335 w 368669"/>
              <a:gd name="connsiteY2" fmla="*/ 0 h 368669"/>
              <a:gd name="connsiteX3" fmla="*/ 368670 w 368669"/>
              <a:gd name="connsiteY3" fmla="*/ 184335 h 368669"/>
              <a:gd name="connsiteX4" fmla="*/ 184335 w 368669"/>
              <a:gd name="connsiteY4" fmla="*/ 368670 h 368669"/>
              <a:gd name="connsiteX5" fmla="*/ 184335 w 368669"/>
              <a:gd name="connsiteY5" fmla="*/ 9617 h 368669"/>
              <a:gd name="connsiteX6" fmla="*/ 9617 w 368669"/>
              <a:gd name="connsiteY6" fmla="*/ 184335 h 368669"/>
              <a:gd name="connsiteX7" fmla="*/ 184335 w 368669"/>
              <a:gd name="connsiteY7" fmla="*/ 359052 h 368669"/>
              <a:gd name="connsiteX8" fmla="*/ 359052 w 368669"/>
              <a:gd name="connsiteY8" fmla="*/ 184335 h 368669"/>
              <a:gd name="connsiteX9" fmla="*/ 184335 w 368669"/>
              <a:gd name="connsiteY9" fmla="*/ 9617 h 368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8669" h="368669">
                <a:moveTo>
                  <a:pt x="184335" y="368670"/>
                </a:moveTo>
                <a:cubicBezTo>
                  <a:pt x="82710" y="368670"/>
                  <a:pt x="0" y="285959"/>
                  <a:pt x="0" y="184335"/>
                </a:cubicBezTo>
                <a:cubicBezTo>
                  <a:pt x="0" y="82710"/>
                  <a:pt x="82710" y="0"/>
                  <a:pt x="184335" y="0"/>
                </a:cubicBezTo>
                <a:cubicBezTo>
                  <a:pt x="285959" y="0"/>
                  <a:pt x="368670" y="82710"/>
                  <a:pt x="368670" y="184335"/>
                </a:cubicBezTo>
                <a:cubicBezTo>
                  <a:pt x="368670" y="285959"/>
                  <a:pt x="285959" y="368670"/>
                  <a:pt x="184335" y="368670"/>
                </a:cubicBezTo>
                <a:close/>
                <a:moveTo>
                  <a:pt x="184335" y="9617"/>
                </a:moveTo>
                <a:cubicBezTo>
                  <a:pt x="87968" y="9617"/>
                  <a:pt x="9617" y="87968"/>
                  <a:pt x="9617" y="184335"/>
                </a:cubicBezTo>
                <a:cubicBezTo>
                  <a:pt x="9617" y="280702"/>
                  <a:pt x="87968" y="359052"/>
                  <a:pt x="184335" y="359052"/>
                </a:cubicBezTo>
                <a:cubicBezTo>
                  <a:pt x="280702" y="359052"/>
                  <a:pt x="359052" y="280702"/>
                  <a:pt x="359052" y="184335"/>
                </a:cubicBezTo>
                <a:cubicBezTo>
                  <a:pt x="359052" y="87968"/>
                  <a:pt x="280702" y="9617"/>
                  <a:pt x="184335" y="9617"/>
                </a:cubicBezTo>
                <a:close/>
              </a:path>
            </a:pathLst>
          </a:custGeom>
          <a:solidFill>
            <a:srgbClr val="353B41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6D23BA11-B1DE-D6A6-263A-4B2A9D27009E}"/>
              </a:ext>
            </a:extLst>
          </p:cNvPr>
          <p:cNvSpPr/>
          <p:nvPr userDrawn="1"/>
        </p:nvSpPr>
        <p:spPr>
          <a:xfrm>
            <a:off x="2994525" y="3237452"/>
            <a:ext cx="597544" cy="597544"/>
          </a:xfrm>
          <a:custGeom>
            <a:avLst/>
            <a:gdLst>
              <a:gd name="connsiteX0" fmla="*/ 564225 w 564224"/>
              <a:gd name="connsiteY0" fmla="*/ 282113 h 564224"/>
              <a:gd name="connsiteX1" fmla="*/ 282112 w 564224"/>
              <a:gd name="connsiteY1" fmla="*/ 564225 h 564224"/>
              <a:gd name="connsiteX2" fmla="*/ 0 w 564224"/>
              <a:gd name="connsiteY2" fmla="*/ 282113 h 564224"/>
              <a:gd name="connsiteX3" fmla="*/ 282112 w 564224"/>
              <a:gd name="connsiteY3" fmla="*/ 0 h 564224"/>
              <a:gd name="connsiteX4" fmla="*/ 564225 w 564224"/>
              <a:gd name="connsiteY4" fmla="*/ 282113 h 564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4224" h="564224">
                <a:moveTo>
                  <a:pt x="564225" y="282113"/>
                </a:moveTo>
                <a:cubicBezTo>
                  <a:pt x="564225" y="437919"/>
                  <a:pt x="437919" y="564225"/>
                  <a:pt x="282112" y="564225"/>
                </a:cubicBezTo>
                <a:cubicBezTo>
                  <a:pt x="126306" y="564225"/>
                  <a:pt x="0" y="437919"/>
                  <a:pt x="0" y="282113"/>
                </a:cubicBezTo>
                <a:cubicBezTo>
                  <a:pt x="0" y="126306"/>
                  <a:pt x="126306" y="0"/>
                  <a:pt x="282112" y="0"/>
                </a:cubicBezTo>
                <a:cubicBezTo>
                  <a:pt x="437919" y="0"/>
                  <a:pt x="564225" y="126306"/>
                  <a:pt x="564225" y="282113"/>
                </a:cubicBezTo>
                <a:close/>
              </a:path>
            </a:pathLst>
          </a:custGeom>
          <a:solidFill>
            <a:srgbClr val="FFFFFF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D80D787-74FB-BA33-7E34-38892837C923}"/>
              </a:ext>
            </a:extLst>
          </p:cNvPr>
          <p:cNvSpPr/>
          <p:nvPr userDrawn="1"/>
        </p:nvSpPr>
        <p:spPr>
          <a:xfrm>
            <a:off x="3649787" y="3999118"/>
            <a:ext cx="81483" cy="81483"/>
          </a:xfrm>
          <a:custGeom>
            <a:avLst/>
            <a:gdLst>
              <a:gd name="connsiteX0" fmla="*/ 76940 w 76939"/>
              <a:gd name="connsiteY0" fmla="*/ 38470 h 76939"/>
              <a:gd name="connsiteX1" fmla="*/ 38470 w 76939"/>
              <a:gd name="connsiteY1" fmla="*/ 76940 h 76939"/>
              <a:gd name="connsiteX2" fmla="*/ 0 w 76939"/>
              <a:gd name="connsiteY2" fmla="*/ 38470 h 76939"/>
              <a:gd name="connsiteX3" fmla="*/ 38470 w 76939"/>
              <a:gd name="connsiteY3" fmla="*/ 0 h 76939"/>
              <a:gd name="connsiteX4" fmla="*/ 76940 w 76939"/>
              <a:gd name="connsiteY4" fmla="*/ 38470 h 76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39" h="76939">
                <a:moveTo>
                  <a:pt x="76940" y="38470"/>
                </a:moveTo>
                <a:cubicBezTo>
                  <a:pt x="76940" y="59716"/>
                  <a:pt x="59716" y="76940"/>
                  <a:pt x="38470" y="76940"/>
                </a:cubicBezTo>
                <a:cubicBezTo>
                  <a:pt x="17223" y="76940"/>
                  <a:pt x="0" y="59716"/>
                  <a:pt x="0" y="38470"/>
                </a:cubicBezTo>
                <a:cubicBezTo>
                  <a:pt x="0" y="17223"/>
                  <a:pt x="17223" y="0"/>
                  <a:pt x="38470" y="0"/>
                </a:cubicBezTo>
                <a:cubicBezTo>
                  <a:pt x="59716" y="0"/>
                  <a:pt x="76940" y="17223"/>
                  <a:pt x="76940" y="38470"/>
                </a:cubicBezTo>
                <a:close/>
              </a:path>
            </a:pathLst>
          </a:custGeom>
          <a:solidFill>
            <a:schemeClr val="tx1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4E356CF1-D59B-98AC-A997-745A7D8565B1}"/>
              </a:ext>
            </a:extLst>
          </p:cNvPr>
          <p:cNvSpPr/>
          <p:nvPr userDrawn="1"/>
        </p:nvSpPr>
        <p:spPr>
          <a:xfrm>
            <a:off x="2285687" y="1328026"/>
            <a:ext cx="390440" cy="390440"/>
          </a:xfrm>
          <a:custGeom>
            <a:avLst/>
            <a:gdLst>
              <a:gd name="connsiteX0" fmla="*/ 184335 w 368669"/>
              <a:gd name="connsiteY0" fmla="*/ 368670 h 368669"/>
              <a:gd name="connsiteX1" fmla="*/ 0 w 368669"/>
              <a:gd name="connsiteY1" fmla="*/ 184335 h 368669"/>
              <a:gd name="connsiteX2" fmla="*/ 184335 w 368669"/>
              <a:gd name="connsiteY2" fmla="*/ 0 h 368669"/>
              <a:gd name="connsiteX3" fmla="*/ 368670 w 368669"/>
              <a:gd name="connsiteY3" fmla="*/ 184335 h 368669"/>
              <a:gd name="connsiteX4" fmla="*/ 184335 w 368669"/>
              <a:gd name="connsiteY4" fmla="*/ 368670 h 368669"/>
              <a:gd name="connsiteX5" fmla="*/ 184335 w 368669"/>
              <a:gd name="connsiteY5" fmla="*/ 9617 h 368669"/>
              <a:gd name="connsiteX6" fmla="*/ 9617 w 368669"/>
              <a:gd name="connsiteY6" fmla="*/ 184335 h 368669"/>
              <a:gd name="connsiteX7" fmla="*/ 184335 w 368669"/>
              <a:gd name="connsiteY7" fmla="*/ 359052 h 368669"/>
              <a:gd name="connsiteX8" fmla="*/ 359052 w 368669"/>
              <a:gd name="connsiteY8" fmla="*/ 184335 h 368669"/>
              <a:gd name="connsiteX9" fmla="*/ 184335 w 368669"/>
              <a:gd name="connsiteY9" fmla="*/ 9617 h 368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8669" h="368669">
                <a:moveTo>
                  <a:pt x="184335" y="368670"/>
                </a:moveTo>
                <a:cubicBezTo>
                  <a:pt x="82710" y="368670"/>
                  <a:pt x="0" y="285959"/>
                  <a:pt x="0" y="184335"/>
                </a:cubicBezTo>
                <a:cubicBezTo>
                  <a:pt x="0" y="82710"/>
                  <a:pt x="82710" y="0"/>
                  <a:pt x="184335" y="0"/>
                </a:cubicBezTo>
                <a:cubicBezTo>
                  <a:pt x="285959" y="0"/>
                  <a:pt x="368670" y="82710"/>
                  <a:pt x="368670" y="184335"/>
                </a:cubicBezTo>
                <a:cubicBezTo>
                  <a:pt x="368670" y="285959"/>
                  <a:pt x="285959" y="368670"/>
                  <a:pt x="184335" y="368670"/>
                </a:cubicBezTo>
                <a:close/>
                <a:moveTo>
                  <a:pt x="184335" y="9617"/>
                </a:moveTo>
                <a:cubicBezTo>
                  <a:pt x="87968" y="9617"/>
                  <a:pt x="9617" y="87968"/>
                  <a:pt x="9617" y="184335"/>
                </a:cubicBezTo>
                <a:cubicBezTo>
                  <a:pt x="9617" y="280702"/>
                  <a:pt x="87968" y="359052"/>
                  <a:pt x="184335" y="359052"/>
                </a:cubicBezTo>
                <a:cubicBezTo>
                  <a:pt x="280702" y="359052"/>
                  <a:pt x="359052" y="280702"/>
                  <a:pt x="359052" y="184335"/>
                </a:cubicBezTo>
                <a:cubicBezTo>
                  <a:pt x="359052" y="87968"/>
                  <a:pt x="280702" y="9617"/>
                  <a:pt x="184335" y="9617"/>
                </a:cubicBezTo>
                <a:close/>
              </a:path>
            </a:pathLst>
          </a:custGeom>
          <a:solidFill>
            <a:srgbClr val="353B41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F4C888BD-6CEA-0662-3AB1-6C8523C445A1}"/>
              </a:ext>
            </a:extLst>
          </p:cNvPr>
          <p:cNvSpPr/>
          <p:nvPr userDrawn="1"/>
        </p:nvSpPr>
        <p:spPr>
          <a:xfrm>
            <a:off x="6495797" y="3237452"/>
            <a:ext cx="597544" cy="597544"/>
          </a:xfrm>
          <a:custGeom>
            <a:avLst/>
            <a:gdLst>
              <a:gd name="connsiteX0" fmla="*/ 564225 w 564224"/>
              <a:gd name="connsiteY0" fmla="*/ 282113 h 564224"/>
              <a:gd name="connsiteX1" fmla="*/ 282113 w 564224"/>
              <a:gd name="connsiteY1" fmla="*/ 564225 h 564224"/>
              <a:gd name="connsiteX2" fmla="*/ 0 w 564224"/>
              <a:gd name="connsiteY2" fmla="*/ 282113 h 564224"/>
              <a:gd name="connsiteX3" fmla="*/ 282113 w 564224"/>
              <a:gd name="connsiteY3" fmla="*/ 0 h 564224"/>
              <a:gd name="connsiteX4" fmla="*/ 564225 w 564224"/>
              <a:gd name="connsiteY4" fmla="*/ 282113 h 564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4224" h="564224">
                <a:moveTo>
                  <a:pt x="564225" y="282113"/>
                </a:moveTo>
                <a:cubicBezTo>
                  <a:pt x="564225" y="437919"/>
                  <a:pt x="437919" y="564225"/>
                  <a:pt x="282113" y="564225"/>
                </a:cubicBezTo>
                <a:cubicBezTo>
                  <a:pt x="126306" y="564225"/>
                  <a:pt x="0" y="437919"/>
                  <a:pt x="0" y="282113"/>
                </a:cubicBezTo>
                <a:cubicBezTo>
                  <a:pt x="0" y="126306"/>
                  <a:pt x="126306" y="0"/>
                  <a:pt x="282113" y="0"/>
                </a:cubicBezTo>
                <a:cubicBezTo>
                  <a:pt x="437919" y="0"/>
                  <a:pt x="564225" y="126306"/>
                  <a:pt x="564225" y="282113"/>
                </a:cubicBezTo>
                <a:close/>
              </a:path>
            </a:pathLst>
          </a:custGeom>
          <a:solidFill>
            <a:srgbClr val="FFFFFF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4510EA5-8D4E-2C0F-EA05-1F7670CB9BD1}"/>
              </a:ext>
            </a:extLst>
          </p:cNvPr>
          <p:cNvSpPr/>
          <p:nvPr userDrawn="1"/>
        </p:nvSpPr>
        <p:spPr>
          <a:xfrm>
            <a:off x="7151059" y="3999118"/>
            <a:ext cx="81483" cy="81483"/>
          </a:xfrm>
          <a:custGeom>
            <a:avLst/>
            <a:gdLst>
              <a:gd name="connsiteX0" fmla="*/ 76940 w 76939"/>
              <a:gd name="connsiteY0" fmla="*/ 38470 h 76939"/>
              <a:gd name="connsiteX1" fmla="*/ 38470 w 76939"/>
              <a:gd name="connsiteY1" fmla="*/ 76940 h 76939"/>
              <a:gd name="connsiteX2" fmla="*/ 0 w 76939"/>
              <a:gd name="connsiteY2" fmla="*/ 38470 h 76939"/>
              <a:gd name="connsiteX3" fmla="*/ 38470 w 76939"/>
              <a:gd name="connsiteY3" fmla="*/ 0 h 76939"/>
              <a:gd name="connsiteX4" fmla="*/ 76940 w 76939"/>
              <a:gd name="connsiteY4" fmla="*/ 38470 h 76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39" h="76939">
                <a:moveTo>
                  <a:pt x="76940" y="38470"/>
                </a:moveTo>
                <a:cubicBezTo>
                  <a:pt x="76940" y="59716"/>
                  <a:pt x="59716" y="76940"/>
                  <a:pt x="38470" y="76940"/>
                </a:cubicBezTo>
                <a:cubicBezTo>
                  <a:pt x="17224" y="76940"/>
                  <a:pt x="0" y="59716"/>
                  <a:pt x="0" y="38470"/>
                </a:cubicBezTo>
                <a:cubicBezTo>
                  <a:pt x="0" y="17223"/>
                  <a:pt x="17224" y="0"/>
                  <a:pt x="38470" y="0"/>
                </a:cubicBezTo>
                <a:cubicBezTo>
                  <a:pt x="59716" y="0"/>
                  <a:pt x="76940" y="17223"/>
                  <a:pt x="76940" y="38470"/>
                </a:cubicBezTo>
                <a:close/>
              </a:path>
            </a:pathLst>
          </a:custGeom>
          <a:solidFill>
            <a:schemeClr val="tx1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B57F9908-8463-B3F5-CD6D-076E88FC24AB}"/>
              </a:ext>
            </a:extLst>
          </p:cNvPr>
          <p:cNvSpPr/>
          <p:nvPr userDrawn="1"/>
        </p:nvSpPr>
        <p:spPr>
          <a:xfrm>
            <a:off x="5787028" y="1328026"/>
            <a:ext cx="390440" cy="390440"/>
          </a:xfrm>
          <a:custGeom>
            <a:avLst/>
            <a:gdLst>
              <a:gd name="connsiteX0" fmla="*/ 184335 w 368669"/>
              <a:gd name="connsiteY0" fmla="*/ 368670 h 368669"/>
              <a:gd name="connsiteX1" fmla="*/ 0 w 368669"/>
              <a:gd name="connsiteY1" fmla="*/ 184335 h 368669"/>
              <a:gd name="connsiteX2" fmla="*/ 184335 w 368669"/>
              <a:gd name="connsiteY2" fmla="*/ 0 h 368669"/>
              <a:gd name="connsiteX3" fmla="*/ 368670 w 368669"/>
              <a:gd name="connsiteY3" fmla="*/ 184335 h 368669"/>
              <a:gd name="connsiteX4" fmla="*/ 184335 w 368669"/>
              <a:gd name="connsiteY4" fmla="*/ 368670 h 368669"/>
              <a:gd name="connsiteX5" fmla="*/ 184335 w 368669"/>
              <a:gd name="connsiteY5" fmla="*/ 9617 h 368669"/>
              <a:gd name="connsiteX6" fmla="*/ 9617 w 368669"/>
              <a:gd name="connsiteY6" fmla="*/ 184335 h 368669"/>
              <a:gd name="connsiteX7" fmla="*/ 184335 w 368669"/>
              <a:gd name="connsiteY7" fmla="*/ 359052 h 368669"/>
              <a:gd name="connsiteX8" fmla="*/ 359052 w 368669"/>
              <a:gd name="connsiteY8" fmla="*/ 184335 h 368669"/>
              <a:gd name="connsiteX9" fmla="*/ 184335 w 368669"/>
              <a:gd name="connsiteY9" fmla="*/ 9617 h 368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8669" h="368669">
                <a:moveTo>
                  <a:pt x="184335" y="368670"/>
                </a:moveTo>
                <a:cubicBezTo>
                  <a:pt x="82710" y="368670"/>
                  <a:pt x="0" y="285959"/>
                  <a:pt x="0" y="184335"/>
                </a:cubicBezTo>
                <a:cubicBezTo>
                  <a:pt x="0" y="82710"/>
                  <a:pt x="82710" y="0"/>
                  <a:pt x="184335" y="0"/>
                </a:cubicBezTo>
                <a:cubicBezTo>
                  <a:pt x="285959" y="0"/>
                  <a:pt x="368670" y="82710"/>
                  <a:pt x="368670" y="184335"/>
                </a:cubicBezTo>
                <a:cubicBezTo>
                  <a:pt x="368670" y="285959"/>
                  <a:pt x="285959" y="368670"/>
                  <a:pt x="184335" y="368670"/>
                </a:cubicBezTo>
                <a:close/>
                <a:moveTo>
                  <a:pt x="184335" y="9617"/>
                </a:moveTo>
                <a:cubicBezTo>
                  <a:pt x="87968" y="9617"/>
                  <a:pt x="9617" y="87968"/>
                  <a:pt x="9617" y="184335"/>
                </a:cubicBezTo>
                <a:cubicBezTo>
                  <a:pt x="9617" y="280702"/>
                  <a:pt x="87968" y="359052"/>
                  <a:pt x="184335" y="359052"/>
                </a:cubicBezTo>
                <a:cubicBezTo>
                  <a:pt x="280702" y="359052"/>
                  <a:pt x="359052" y="280702"/>
                  <a:pt x="359052" y="184335"/>
                </a:cubicBezTo>
                <a:cubicBezTo>
                  <a:pt x="359052" y="87968"/>
                  <a:pt x="280702" y="9617"/>
                  <a:pt x="184335" y="9617"/>
                </a:cubicBezTo>
                <a:close/>
              </a:path>
            </a:pathLst>
          </a:custGeom>
          <a:solidFill>
            <a:srgbClr val="353B41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5EFD4530-02ED-4B09-92E9-16271FB95A24}"/>
              </a:ext>
            </a:extLst>
          </p:cNvPr>
          <p:cNvSpPr/>
          <p:nvPr userDrawn="1"/>
        </p:nvSpPr>
        <p:spPr>
          <a:xfrm>
            <a:off x="9962303" y="3237452"/>
            <a:ext cx="597544" cy="597544"/>
          </a:xfrm>
          <a:custGeom>
            <a:avLst/>
            <a:gdLst>
              <a:gd name="connsiteX0" fmla="*/ 564225 w 564224"/>
              <a:gd name="connsiteY0" fmla="*/ 282113 h 564224"/>
              <a:gd name="connsiteX1" fmla="*/ 282113 w 564224"/>
              <a:gd name="connsiteY1" fmla="*/ 564225 h 564224"/>
              <a:gd name="connsiteX2" fmla="*/ 0 w 564224"/>
              <a:gd name="connsiteY2" fmla="*/ 282113 h 564224"/>
              <a:gd name="connsiteX3" fmla="*/ 282113 w 564224"/>
              <a:gd name="connsiteY3" fmla="*/ 0 h 564224"/>
              <a:gd name="connsiteX4" fmla="*/ 564225 w 564224"/>
              <a:gd name="connsiteY4" fmla="*/ 282113 h 564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4224" h="564224">
                <a:moveTo>
                  <a:pt x="564225" y="282113"/>
                </a:moveTo>
                <a:cubicBezTo>
                  <a:pt x="564225" y="437919"/>
                  <a:pt x="437919" y="564225"/>
                  <a:pt x="282113" y="564225"/>
                </a:cubicBezTo>
                <a:cubicBezTo>
                  <a:pt x="126306" y="564225"/>
                  <a:pt x="0" y="437919"/>
                  <a:pt x="0" y="282113"/>
                </a:cubicBezTo>
                <a:cubicBezTo>
                  <a:pt x="0" y="126306"/>
                  <a:pt x="126306" y="0"/>
                  <a:pt x="282113" y="0"/>
                </a:cubicBezTo>
                <a:cubicBezTo>
                  <a:pt x="437919" y="0"/>
                  <a:pt x="564225" y="126306"/>
                  <a:pt x="564225" y="282113"/>
                </a:cubicBezTo>
                <a:close/>
              </a:path>
            </a:pathLst>
          </a:custGeom>
          <a:solidFill>
            <a:srgbClr val="FFFFFF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0251951C-C836-D290-FFC2-F6465268F9AB}"/>
              </a:ext>
            </a:extLst>
          </p:cNvPr>
          <p:cNvSpPr/>
          <p:nvPr userDrawn="1"/>
        </p:nvSpPr>
        <p:spPr>
          <a:xfrm>
            <a:off x="9253465" y="1328026"/>
            <a:ext cx="390440" cy="390440"/>
          </a:xfrm>
          <a:custGeom>
            <a:avLst/>
            <a:gdLst>
              <a:gd name="connsiteX0" fmla="*/ 184335 w 368669"/>
              <a:gd name="connsiteY0" fmla="*/ 368670 h 368669"/>
              <a:gd name="connsiteX1" fmla="*/ 0 w 368669"/>
              <a:gd name="connsiteY1" fmla="*/ 184335 h 368669"/>
              <a:gd name="connsiteX2" fmla="*/ 184335 w 368669"/>
              <a:gd name="connsiteY2" fmla="*/ 0 h 368669"/>
              <a:gd name="connsiteX3" fmla="*/ 368670 w 368669"/>
              <a:gd name="connsiteY3" fmla="*/ 184335 h 368669"/>
              <a:gd name="connsiteX4" fmla="*/ 184335 w 368669"/>
              <a:gd name="connsiteY4" fmla="*/ 368670 h 368669"/>
              <a:gd name="connsiteX5" fmla="*/ 184335 w 368669"/>
              <a:gd name="connsiteY5" fmla="*/ 9617 h 368669"/>
              <a:gd name="connsiteX6" fmla="*/ 9617 w 368669"/>
              <a:gd name="connsiteY6" fmla="*/ 184335 h 368669"/>
              <a:gd name="connsiteX7" fmla="*/ 184335 w 368669"/>
              <a:gd name="connsiteY7" fmla="*/ 359052 h 368669"/>
              <a:gd name="connsiteX8" fmla="*/ 359052 w 368669"/>
              <a:gd name="connsiteY8" fmla="*/ 184335 h 368669"/>
              <a:gd name="connsiteX9" fmla="*/ 184335 w 368669"/>
              <a:gd name="connsiteY9" fmla="*/ 9617 h 368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8669" h="368669">
                <a:moveTo>
                  <a:pt x="184335" y="368670"/>
                </a:moveTo>
                <a:cubicBezTo>
                  <a:pt x="82710" y="368670"/>
                  <a:pt x="0" y="285959"/>
                  <a:pt x="0" y="184335"/>
                </a:cubicBezTo>
                <a:cubicBezTo>
                  <a:pt x="0" y="82710"/>
                  <a:pt x="82710" y="0"/>
                  <a:pt x="184335" y="0"/>
                </a:cubicBezTo>
                <a:cubicBezTo>
                  <a:pt x="285959" y="0"/>
                  <a:pt x="368670" y="82710"/>
                  <a:pt x="368670" y="184335"/>
                </a:cubicBezTo>
                <a:cubicBezTo>
                  <a:pt x="368670" y="285959"/>
                  <a:pt x="285959" y="368670"/>
                  <a:pt x="184335" y="368670"/>
                </a:cubicBezTo>
                <a:close/>
                <a:moveTo>
                  <a:pt x="184335" y="9617"/>
                </a:moveTo>
                <a:cubicBezTo>
                  <a:pt x="87968" y="9617"/>
                  <a:pt x="9617" y="87968"/>
                  <a:pt x="9617" y="184335"/>
                </a:cubicBezTo>
                <a:cubicBezTo>
                  <a:pt x="9617" y="280702"/>
                  <a:pt x="87968" y="359052"/>
                  <a:pt x="184335" y="359052"/>
                </a:cubicBezTo>
                <a:cubicBezTo>
                  <a:pt x="280702" y="359052"/>
                  <a:pt x="359052" y="280702"/>
                  <a:pt x="359052" y="184335"/>
                </a:cubicBezTo>
                <a:cubicBezTo>
                  <a:pt x="359052" y="87968"/>
                  <a:pt x="280702" y="9617"/>
                  <a:pt x="184335" y="9617"/>
                </a:cubicBezTo>
                <a:close/>
              </a:path>
            </a:pathLst>
          </a:custGeom>
          <a:solidFill>
            <a:srgbClr val="353B41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60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0AE0175-4E06-4076-AC04-E7B40682848C}"/>
              </a:ext>
            </a:extLst>
          </p:cNvPr>
          <p:cNvSpPr/>
          <p:nvPr userDrawn="1"/>
        </p:nvSpPr>
        <p:spPr>
          <a:xfrm>
            <a:off x="515937" y="5395091"/>
            <a:ext cx="401067" cy="30626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01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919DDB2-1FF7-6C9A-6345-2825BDCC206F}"/>
              </a:ext>
            </a:extLst>
          </p:cNvPr>
          <p:cNvSpPr/>
          <p:nvPr userDrawn="1"/>
        </p:nvSpPr>
        <p:spPr>
          <a:xfrm>
            <a:off x="4007553" y="5395091"/>
            <a:ext cx="401067" cy="30626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03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D5414B4-0482-E84D-588C-57C52BEFCF33}"/>
              </a:ext>
            </a:extLst>
          </p:cNvPr>
          <p:cNvSpPr/>
          <p:nvPr userDrawn="1"/>
        </p:nvSpPr>
        <p:spPr>
          <a:xfrm>
            <a:off x="7509930" y="5384331"/>
            <a:ext cx="401067" cy="30626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05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07876E5-BFDA-8C7C-A4A8-C21789B8F9C6}"/>
              </a:ext>
            </a:extLst>
          </p:cNvPr>
          <p:cNvSpPr/>
          <p:nvPr userDrawn="1"/>
        </p:nvSpPr>
        <p:spPr>
          <a:xfrm>
            <a:off x="2278973" y="1363413"/>
            <a:ext cx="401067" cy="30626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02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7255529-9D4B-62E6-7A66-0565408EBE80}"/>
              </a:ext>
            </a:extLst>
          </p:cNvPr>
          <p:cNvSpPr/>
          <p:nvPr userDrawn="1"/>
        </p:nvSpPr>
        <p:spPr>
          <a:xfrm>
            <a:off x="5781349" y="1374173"/>
            <a:ext cx="401067" cy="30626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04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AB8EBBF-50A4-9B93-689F-AC7B9A8EA6EB}"/>
              </a:ext>
            </a:extLst>
          </p:cNvPr>
          <p:cNvSpPr/>
          <p:nvPr userDrawn="1"/>
        </p:nvSpPr>
        <p:spPr>
          <a:xfrm>
            <a:off x="9240686" y="1363413"/>
            <a:ext cx="401067" cy="30626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06</a:t>
            </a:r>
          </a:p>
        </p:txBody>
      </p:sp>
      <p:sp>
        <p:nvSpPr>
          <p:cNvPr id="64" name="Text Placeholder 16">
            <a:extLst>
              <a:ext uri="{FF2B5EF4-FFF2-40B4-BE49-F238E27FC236}">
                <a16:creationId xmlns:a16="http://schemas.microsoft.com/office/drawing/2014/main" id="{D67168E9-DAAA-CD05-52B1-C6FE7BFADC1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723080" y="1474688"/>
            <a:ext cx="2689981" cy="246221"/>
          </a:xfrm>
        </p:spPr>
        <p:txBody>
          <a:bodyPr wrap="square" anchor="t" anchorCtr="0">
            <a:spAutoFit/>
          </a:bodyPr>
          <a:lstStyle>
            <a:lvl1pPr algn="l">
              <a:spcBef>
                <a:spcPts val="0"/>
              </a:spcBef>
              <a:defRPr sz="1600">
                <a:solidFill>
                  <a:srgbClr val="131E29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Text Placeholder 16">
            <a:extLst>
              <a:ext uri="{FF2B5EF4-FFF2-40B4-BE49-F238E27FC236}">
                <a16:creationId xmlns:a16="http://schemas.microsoft.com/office/drawing/2014/main" id="{8BCC8245-2673-D3A0-210A-014020CC42F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723080" y="1795802"/>
            <a:ext cx="2412551" cy="184666"/>
          </a:xfrm>
        </p:spPr>
        <p:txBody>
          <a:bodyPr anchor="t" anchorCtr="0">
            <a:spAutoFit/>
          </a:bodyPr>
          <a:lstStyle>
            <a:lvl1pPr marL="0" indent="0" algn="l">
              <a:spcBef>
                <a:spcPts val="300"/>
              </a:spcBef>
              <a:buFont typeface="Arial" panose="020B0604020202020204" pitchFamily="34" charset="0"/>
              <a:buNone/>
              <a:defRPr sz="120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Graphic 73">
            <a:extLst>
              <a:ext uri="{FF2B5EF4-FFF2-40B4-BE49-F238E27FC236}">
                <a16:creationId xmlns:a16="http://schemas.microsoft.com/office/drawing/2014/main" id="{A334D075-D031-2139-A8A3-3167F1306490}"/>
              </a:ext>
            </a:extLst>
          </p:cNvPr>
          <p:cNvSpPr/>
          <p:nvPr userDrawn="1"/>
        </p:nvSpPr>
        <p:spPr>
          <a:xfrm>
            <a:off x="2487286" y="1718466"/>
            <a:ext cx="1645991" cy="2312623"/>
          </a:xfrm>
          <a:custGeom>
            <a:avLst/>
            <a:gdLst>
              <a:gd name="connsiteX0" fmla="*/ 1149957 w 1554208"/>
              <a:gd name="connsiteY0" fmla="*/ 2183669 h 2183668"/>
              <a:gd name="connsiteX1" fmla="*/ 1554209 w 1554208"/>
              <a:gd name="connsiteY1" fmla="*/ 1718551 h 2183668"/>
              <a:gd name="connsiteX2" fmla="*/ 1139417 w 1554208"/>
              <a:gd name="connsiteY2" fmla="*/ 1249260 h 2183668"/>
              <a:gd name="connsiteX3" fmla="*/ 0 w 1554208"/>
              <a:gd name="connsiteY3" fmla="*/ 1252407 h 2183668"/>
              <a:gd name="connsiteX4" fmla="*/ 1405 w 1554208"/>
              <a:gd name="connsiteY4" fmla="*/ 0 h 2183668"/>
              <a:gd name="connsiteX0" fmla="*/ 1149957 w 1554209"/>
              <a:gd name="connsiteY0" fmla="*/ 2183669 h 2183669"/>
              <a:gd name="connsiteX1" fmla="*/ 1554209 w 1554209"/>
              <a:gd name="connsiteY1" fmla="*/ 1718551 h 2183669"/>
              <a:gd name="connsiteX2" fmla="*/ 1174977 w 1554209"/>
              <a:gd name="connsiteY2" fmla="*/ 1249260 h 2183669"/>
              <a:gd name="connsiteX3" fmla="*/ 0 w 1554209"/>
              <a:gd name="connsiteY3" fmla="*/ 1252407 h 2183669"/>
              <a:gd name="connsiteX4" fmla="*/ 1405 w 1554209"/>
              <a:gd name="connsiteY4" fmla="*/ 0 h 2183669"/>
              <a:gd name="connsiteX0" fmla="*/ 1149957 w 1554209"/>
              <a:gd name="connsiteY0" fmla="*/ 2183669 h 2183669"/>
              <a:gd name="connsiteX1" fmla="*/ 1554209 w 1554209"/>
              <a:gd name="connsiteY1" fmla="*/ 1718551 h 2183669"/>
              <a:gd name="connsiteX2" fmla="*/ 1174977 w 1554209"/>
              <a:gd name="connsiteY2" fmla="*/ 1249260 h 2183669"/>
              <a:gd name="connsiteX3" fmla="*/ 0 w 1554209"/>
              <a:gd name="connsiteY3" fmla="*/ 1247327 h 2183669"/>
              <a:gd name="connsiteX4" fmla="*/ 1405 w 1554209"/>
              <a:gd name="connsiteY4" fmla="*/ 0 h 2183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4209" h="2183669">
                <a:moveTo>
                  <a:pt x="1149957" y="2183669"/>
                </a:moveTo>
                <a:lnTo>
                  <a:pt x="1554209" y="1718551"/>
                </a:lnTo>
                <a:lnTo>
                  <a:pt x="1174977" y="1249260"/>
                </a:lnTo>
                <a:lnTo>
                  <a:pt x="0" y="1247327"/>
                </a:lnTo>
                <a:cubicBezTo>
                  <a:pt x="468" y="829858"/>
                  <a:pt x="937" y="417469"/>
                  <a:pt x="1405" y="0"/>
                </a:cubicBezTo>
              </a:path>
            </a:pathLst>
          </a:custGeom>
          <a:noFill/>
          <a:ln w="6350" cap="flat">
            <a:solidFill>
              <a:srgbClr val="353B4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ECAA1F48-3C92-8459-D4A7-01CFF0F4DC19}"/>
              </a:ext>
            </a:extLst>
          </p:cNvPr>
          <p:cNvSpPr/>
          <p:nvPr userDrawn="1"/>
        </p:nvSpPr>
        <p:spPr>
          <a:xfrm>
            <a:off x="10634322" y="3986774"/>
            <a:ext cx="81483" cy="81483"/>
          </a:xfrm>
          <a:custGeom>
            <a:avLst/>
            <a:gdLst>
              <a:gd name="connsiteX0" fmla="*/ 76940 w 76939"/>
              <a:gd name="connsiteY0" fmla="*/ 38470 h 76939"/>
              <a:gd name="connsiteX1" fmla="*/ 38470 w 76939"/>
              <a:gd name="connsiteY1" fmla="*/ 76940 h 76939"/>
              <a:gd name="connsiteX2" fmla="*/ 0 w 76939"/>
              <a:gd name="connsiteY2" fmla="*/ 38470 h 76939"/>
              <a:gd name="connsiteX3" fmla="*/ 38470 w 76939"/>
              <a:gd name="connsiteY3" fmla="*/ 0 h 76939"/>
              <a:gd name="connsiteX4" fmla="*/ 76940 w 76939"/>
              <a:gd name="connsiteY4" fmla="*/ 38470 h 76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39" h="76939">
                <a:moveTo>
                  <a:pt x="76940" y="38470"/>
                </a:moveTo>
                <a:cubicBezTo>
                  <a:pt x="76940" y="59716"/>
                  <a:pt x="59717" y="76940"/>
                  <a:pt x="38470" y="76940"/>
                </a:cubicBezTo>
                <a:cubicBezTo>
                  <a:pt x="17224" y="76940"/>
                  <a:pt x="0" y="59716"/>
                  <a:pt x="0" y="38470"/>
                </a:cubicBezTo>
                <a:cubicBezTo>
                  <a:pt x="0" y="17224"/>
                  <a:pt x="17224" y="0"/>
                  <a:pt x="38470" y="0"/>
                </a:cubicBezTo>
                <a:cubicBezTo>
                  <a:pt x="59717" y="0"/>
                  <a:pt x="76940" y="17224"/>
                  <a:pt x="76940" y="38470"/>
                </a:cubicBezTo>
                <a:close/>
              </a:path>
            </a:pathLst>
          </a:custGeom>
          <a:solidFill>
            <a:schemeClr val="tx1"/>
          </a:solidFill>
          <a:ln w="64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Graphic 73">
            <a:extLst>
              <a:ext uri="{FF2B5EF4-FFF2-40B4-BE49-F238E27FC236}">
                <a16:creationId xmlns:a16="http://schemas.microsoft.com/office/drawing/2014/main" id="{A8F8B7EB-8D00-0A57-7B65-21369F1B3C10}"/>
              </a:ext>
            </a:extLst>
          </p:cNvPr>
          <p:cNvSpPr/>
          <p:nvPr userDrawn="1"/>
        </p:nvSpPr>
        <p:spPr>
          <a:xfrm flipV="1">
            <a:off x="4195172" y="3024209"/>
            <a:ext cx="1682638" cy="2312623"/>
          </a:xfrm>
          <a:custGeom>
            <a:avLst/>
            <a:gdLst>
              <a:gd name="connsiteX0" fmla="*/ 1149957 w 1554208"/>
              <a:gd name="connsiteY0" fmla="*/ 2183669 h 2183668"/>
              <a:gd name="connsiteX1" fmla="*/ 1554209 w 1554208"/>
              <a:gd name="connsiteY1" fmla="*/ 1718551 h 2183668"/>
              <a:gd name="connsiteX2" fmla="*/ 1139417 w 1554208"/>
              <a:gd name="connsiteY2" fmla="*/ 1249260 h 2183668"/>
              <a:gd name="connsiteX3" fmla="*/ 0 w 1554208"/>
              <a:gd name="connsiteY3" fmla="*/ 1252407 h 2183668"/>
              <a:gd name="connsiteX4" fmla="*/ 1405 w 1554208"/>
              <a:gd name="connsiteY4" fmla="*/ 0 h 2183668"/>
              <a:gd name="connsiteX0" fmla="*/ 1149957 w 1554209"/>
              <a:gd name="connsiteY0" fmla="*/ 2183669 h 2183669"/>
              <a:gd name="connsiteX1" fmla="*/ 1554209 w 1554209"/>
              <a:gd name="connsiteY1" fmla="*/ 1718551 h 2183669"/>
              <a:gd name="connsiteX2" fmla="*/ 1174977 w 1554209"/>
              <a:gd name="connsiteY2" fmla="*/ 1249260 h 2183669"/>
              <a:gd name="connsiteX3" fmla="*/ 0 w 1554209"/>
              <a:gd name="connsiteY3" fmla="*/ 1252407 h 2183669"/>
              <a:gd name="connsiteX4" fmla="*/ 1405 w 1554209"/>
              <a:gd name="connsiteY4" fmla="*/ 0 h 2183669"/>
              <a:gd name="connsiteX0" fmla="*/ 1149957 w 1554209"/>
              <a:gd name="connsiteY0" fmla="*/ 2183669 h 2183669"/>
              <a:gd name="connsiteX1" fmla="*/ 1554209 w 1554209"/>
              <a:gd name="connsiteY1" fmla="*/ 1718551 h 2183669"/>
              <a:gd name="connsiteX2" fmla="*/ 1174977 w 1554209"/>
              <a:gd name="connsiteY2" fmla="*/ 1249260 h 2183669"/>
              <a:gd name="connsiteX3" fmla="*/ 0 w 1554209"/>
              <a:gd name="connsiteY3" fmla="*/ 1247327 h 2183669"/>
              <a:gd name="connsiteX4" fmla="*/ 1405 w 1554209"/>
              <a:gd name="connsiteY4" fmla="*/ 0 h 2183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4209" h="2183669">
                <a:moveTo>
                  <a:pt x="1149957" y="2183669"/>
                </a:moveTo>
                <a:lnTo>
                  <a:pt x="1554209" y="1718551"/>
                </a:lnTo>
                <a:lnTo>
                  <a:pt x="1174977" y="1249260"/>
                </a:lnTo>
                <a:lnTo>
                  <a:pt x="0" y="1247327"/>
                </a:lnTo>
                <a:cubicBezTo>
                  <a:pt x="468" y="829858"/>
                  <a:pt x="937" y="417469"/>
                  <a:pt x="1405" y="0"/>
                </a:cubicBezTo>
              </a:path>
            </a:pathLst>
          </a:custGeom>
          <a:noFill/>
          <a:ln w="6350" cap="flat">
            <a:solidFill>
              <a:srgbClr val="353B4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8" name="Picture Placeholder 28">
            <a:extLst>
              <a:ext uri="{FF2B5EF4-FFF2-40B4-BE49-F238E27FC236}">
                <a16:creationId xmlns:a16="http://schemas.microsoft.com/office/drawing/2014/main" id="{3A8C84E1-B209-2CB0-FDBE-C098ADED2C23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324598" y="3290003"/>
            <a:ext cx="493776" cy="492443"/>
          </a:xfrm>
        </p:spPr>
        <p:txBody>
          <a:bodyPr/>
          <a:lstStyle/>
          <a:p>
            <a:endParaRPr lang="en-US"/>
          </a:p>
        </p:txBody>
      </p:sp>
      <p:sp>
        <p:nvSpPr>
          <p:cNvPr id="59" name="Picture Placeholder 28">
            <a:extLst>
              <a:ext uri="{FF2B5EF4-FFF2-40B4-BE49-F238E27FC236}">
                <a16:creationId xmlns:a16="http://schemas.microsoft.com/office/drawing/2014/main" id="{77FC0F45-160B-3F63-186F-9763312EFDA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046409" y="3290003"/>
            <a:ext cx="493776" cy="492443"/>
          </a:xfrm>
        </p:spPr>
        <p:txBody>
          <a:bodyPr/>
          <a:lstStyle/>
          <a:p>
            <a:endParaRPr lang="en-US"/>
          </a:p>
        </p:txBody>
      </p:sp>
      <p:sp>
        <p:nvSpPr>
          <p:cNvPr id="60" name="Picture Placeholder 28">
            <a:extLst>
              <a:ext uri="{FF2B5EF4-FFF2-40B4-BE49-F238E27FC236}">
                <a16:creationId xmlns:a16="http://schemas.microsoft.com/office/drawing/2014/main" id="{EF98A0ED-1BA1-25D7-2700-7FCDDD60730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547681" y="3290002"/>
            <a:ext cx="493776" cy="492443"/>
          </a:xfrm>
        </p:spPr>
        <p:txBody>
          <a:bodyPr/>
          <a:lstStyle/>
          <a:p>
            <a:endParaRPr lang="en-US"/>
          </a:p>
        </p:txBody>
      </p:sp>
      <p:sp>
        <p:nvSpPr>
          <p:cNvPr id="61" name="Picture Placeholder 28">
            <a:extLst>
              <a:ext uri="{FF2B5EF4-FFF2-40B4-BE49-F238E27FC236}">
                <a16:creationId xmlns:a16="http://schemas.microsoft.com/office/drawing/2014/main" id="{D4F8E62A-20AD-B32B-9A57-8F2D32F8F26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824036" y="3290002"/>
            <a:ext cx="493776" cy="492443"/>
          </a:xfrm>
        </p:spPr>
        <p:txBody>
          <a:bodyPr/>
          <a:lstStyle/>
          <a:p>
            <a:endParaRPr lang="en-US"/>
          </a:p>
        </p:txBody>
      </p:sp>
      <p:sp>
        <p:nvSpPr>
          <p:cNvPr id="62" name="Picture Placeholder 28">
            <a:extLst>
              <a:ext uri="{FF2B5EF4-FFF2-40B4-BE49-F238E27FC236}">
                <a16:creationId xmlns:a16="http://schemas.microsoft.com/office/drawing/2014/main" id="{361FB5FF-5666-995C-3400-669DE952BC7A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10014186" y="3290003"/>
            <a:ext cx="493776" cy="492443"/>
          </a:xfrm>
        </p:spPr>
        <p:txBody>
          <a:bodyPr/>
          <a:lstStyle/>
          <a:p>
            <a:endParaRPr lang="en-US"/>
          </a:p>
        </p:txBody>
      </p:sp>
      <p:sp>
        <p:nvSpPr>
          <p:cNvPr id="63" name="Picture Placeholder 28">
            <a:extLst>
              <a:ext uri="{FF2B5EF4-FFF2-40B4-BE49-F238E27FC236}">
                <a16:creationId xmlns:a16="http://schemas.microsoft.com/office/drawing/2014/main" id="{9B9E1D96-C17A-C98C-2C15-A87D5B0CE3B6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325511" y="3290003"/>
            <a:ext cx="493776" cy="492443"/>
          </a:xfrm>
        </p:spPr>
        <p:txBody>
          <a:bodyPr/>
          <a:lstStyle/>
          <a:p>
            <a:endParaRPr lang="en-US"/>
          </a:p>
        </p:txBody>
      </p:sp>
      <p:sp>
        <p:nvSpPr>
          <p:cNvPr id="66" name="Text Placeholder 16">
            <a:extLst>
              <a:ext uri="{FF2B5EF4-FFF2-40B4-BE49-F238E27FC236}">
                <a16:creationId xmlns:a16="http://schemas.microsoft.com/office/drawing/2014/main" id="{63398F94-AC47-CCA1-689F-71204AA9F2A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46025" y="1474688"/>
            <a:ext cx="2689981" cy="246221"/>
          </a:xfrm>
        </p:spPr>
        <p:txBody>
          <a:bodyPr wrap="square" anchor="t" anchorCtr="0">
            <a:spAutoFit/>
          </a:bodyPr>
          <a:lstStyle>
            <a:lvl1pPr algn="l">
              <a:spcBef>
                <a:spcPts val="0"/>
              </a:spcBef>
              <a:defRPr sz="1600">
                <a:solidFill>
                  <a:srgbClr val="131E29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16">
            <a:extLst>
              <a:ext uri="{FF2B5EF4-FFF2-40B4-BE49-F238E27FC236}">
                <a16:creationId xmlns:a16="http://schemas.microsoft.com/office/drawing/2014/main" id="{7D7E892B-25CB-EBB8-02E8-1F1D55B38A8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46025" y="1795802"/>
            <a:ext cx="2412551" cy="184666"/>
          </a:xfrm>
        </p:spPr>
        <p:txBody>
          <a:bodyPr anchor="t" anchorCtr="0">
            <a:spAutoFit/>
          </a:bodyPr>
          <a:lstStyle>
            <a:lvl1pPr marL="0" indent="0" algn="l">
              <a:spcBef>
                <a:spcPts val="300"/>
              </a:spcBef>
              <a:buFont typeface="Arial" panose="020B0604020202020204" pitchFamily="34" charset="0"/>
              <a:buNone/>
              <a:defRPr sz="120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Text Placeholder 16">
            <a:extLst>
              <a:ext uri="{FF2B5EF4-FFF2-40B4-BE49-F238E27FC236}">
                <a16:creationId xmlns:a16="http://schemas.microsoft.com/office/drawing/2014/main" id="{BE2D7DB3-5261-9205-3BF4-0FBFDF2C9B0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704714" y="1474688"/>
            <a:ext cx="2011680" cy="492443"/>
          </a:xfrm>
        </p:spPr>
        <p:txBody>
          <a:bodyPr wrap="square" anchor="t" anchorCtr="0">
            <a:spAutoFit/>
          </a:bodyPr>
          <a:lstStyle>
            <a:lvl1pPr algn="l">
              <a:spcBef>
                <a:spcPts val="0"/>
              </a:spcBef>
              <a:defRPr sz="1600">
                <a:solidFill>
                  <a:srgbClr val="131E29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16">
            <a:extLst>
              <a:ext uri="{FF2B5EF4-FFF2-40B4-BE49-F238E27FC236}">
                <a16:creationId xmlns:a16="http://schemas.microsoft.com/office/drawing/2014/main" id="{083DA6E5-EDDA-A6B2-E5EE-7B5CD9EDE938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704714" y="1795802"/>
            <a:ext cx="2011680" cy="184666"/>
          </a:xfrm>
        </p:spPr>
        <p:txBody>
          <a:bodyPr anchor="t" anchorCtr="0">
            <a:spAutoFit/>
          </a:bodyPr>
          <a:lstStyle>
            <a:lvl1pPr marL="0" indent="0" algn="l">
              <a:spcBef>
                <a:spcPts val="300"/>
              </a:spcBef>
              <a:buFont typeface="Arial" panose="020B0604020202020204" pitchFamily="34" charset="0"/>
              <a:buNone/>
              <a:defRPr sz="120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Text Placeholder 16">
            <a:extLst>
              <a:ext uri="{FF2B5EF4-FFF2-40B4-BE49-F238E27FC236}">
                <a16:creationId xmlns:a16="http://schemas.microsoft.com/office/drawing/2014/main" id="{FEC4F895-861C-F779-D648-8E3D975FD60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981012" y="4351897"/>
            <a:ext cx="2689981" cy="246221"/>
          </a:xfrm>
        </p:spPr>
        <p:txBody>
          <a:bodyPr wrap="square" anchor="t" anchorCtr="0">
            <a:spAutoFit/>
          </a:bodyPr>
          <a:lstStyle>
            <a:lvl1pPr algn="l">
              <a:spcBef>
                <a:spcPts val="0"/>
              </a:spcBef>
              <a:defRPr sz="1600">
                <a:solidFill>
                  <a:srgbClr val="131E29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16">
            <a:extLst>
              <a:ext uri="{FF2B5EF4-FFF2-40B4-BE49-F238E27FC236}">
                <a16:creationId xmlns:a16="http://schemas.microsoft.com/office/drawing/2014/main" id="{33FD10F3-9480-D184-17A2-212EE201BCB3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981012" y="4673011"/>
            <a:ext cx="2412551" cy="184666"/>
          </a:xfrm>
        </p:spPr>
        <p:txBody>
          <a:bodyPr anchor="t" anchorCtr="0">
            <a:spAutoFit/>
          </a:bodyPr>
          <a:lstStyle>
            <a:lvl1pPr marL="0" indent="0" algn="l">
              <a:spcBef>
                <a:spcPts val="300"/>
              </a:spcBef>
              <a:buFont typeface="Arial" panose="020B0604020202020204" pitchFamily="34" charset="0"/>
              <a:buNone/>
              <a:defRPr sz="120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Text Placeholder 16">
            <a:extLst>
              <a:ext uri="{FF2B5EF4-FFF2-40B4-BE49-F238E27FC236}">
                <a16:creationId xmlns:a16="http://schemas.microsoft.com/office/drawing/2014/main" id="{4737A088-24CB-2265-8BF3-B530F445BC3E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4472628" y="4351897"/>
            <a:ext cx="2689981" cy="246221"/>
          </a:xfrm>
        </p:spPr>
        <p:txBody>
          <a:bodyPr wrap="square" anchor="t" anchorCtr="0">
            <a:spAutoFit/>
          </a:bodyPr>
          <a:lstStyle>
            <a:lvl1pPr algn="l">
              <a:spcBef>
                <a:spcPts val="0"/>
              </a:spcBef>
              <a:defRPr sz="1600">
                <a:solidFill>
                  <a:srgbClr val="131E29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16">
            <a:extLst>
              <a:ext uri="{FF2B5EF4-FFF2-40B4-BE49-F238E27FC236}">
                <a16:creationId xmlns:a16="http://schemas.microsoft.com/office/drawing/2014/main" id="{C0EEAC35-D6B5-F970-D8FA-50CCE034C8E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4472628" y="4673011"/>
            <a:ext cx="2412551" cy="184666"/>
          </a:xfrm>
        </p:spPr>
        <p:txBody>
          <a:bodyPr anchor="t" anchorCtr="0">
            <a:spAutoFit/>
          </a:bodyPr>
          <a:lstStyle>
            <a:lvl1pPr marL="0" indent="0" algn="l">
              <a:spcBef>
                <a:spcPts val="300"/>
              </a:spcBef>
              <a:buFont typeface="Arial" panose="020B0604020202020204" pitchFamily="34" charset="0"/>
              <a:buNone/>
              <a:defRPr sz="120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Text Placeholder 16">
            <a:extLst>
              <a:ext uri="{FF2B5EF4-FFF2-40B4-BE49-F238E27FC236}">
                <a16:creationId xmlns:a16="http://schemas.microsoft.com/office/drawing/2014/main" id="{1A553867-60D0-A487-FE98-D6DBE169E4C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975006" y="4351897"/>
            <a:ext cx="2689981" cy="246221"/>
          </a:xfrm>
        </p:spPr>
        <p:txBody>
          <a:bodyPr wrap="square" anchor="t" anchorCtr="0">
            <a:spAutoFit/>
          </a:bodyPr>
          <a:lstStyle>
            <a:lvl1pPr algn="l">
              <a:spcBef>
                <a:spcPts val="0"/>
              </a:spcBef>
              <a:defRPr sz="1600">
                <a:solidFill>
                  <a:srgbClr val="131E29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5" name="Text Placeholder 16">
            <a:extLst>
              <a:ext uri="{FF2B5EF4-FFF2-40B4-BE49-F238E27FC236}">
                <a16:creationId xmlns:a16="http://schemas.microsoft.com/office/drawing/2014/main" id="{EF2A372C-4C06-13E5-F236-585D455CF5A5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975006" y="4673011"/>
            <a:ext cx="2412551" cy="184666"/>
          </a:xfrm>
        </p:spPr>
        <p:txBody>
          <a:bodyPr anchor="t" anchorCtr="0">
            <a:spAutoFit/>
          </a:bodyPr>
          <a:lstStyle>
            <a:lvl1pPr marL="0" indent="0" algn="l">
              <a:spcBef>
                <a:spcPts val="300"/>
              </a:spcBef>
              <a:buFont typeface="Arial" panose="020B0604020202020204" pitchFamily="34" charset="0"/>
              <a:buNone/>
              <a:defRPr sz="120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03314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739D7AA-095F-796F-D318-26D7DCACB0C8}"/>
              </a:ext>
            </a:extLst>
          </p:cNvPr>
          <p:cNvSpPr/>
          <p:nvPr userDrawn="1"/>
        </p:nvSpPr>
        <p:spPr>
          <a:xfrm>
            <a:off x="2832335" y="1143000"/>
            <a:ext cx="8845315" cy="21738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14FAC13F-F09D-7F19-693A-7CFB39D46B5D}"/>
              </a:ext>
            </a:extLst>
          </p:cNvPr>
          <p:cNvSpPr/>
          <p:nvPr userDrawn="1"/>
        </p:nvSpPr>
        <p:spPr>
          <a:xfrm rot="5400000">
            <a:off x="697271" y="968803"/>
            <a:ext cx="2173886" cy="2522281"/>
          </a:xfrm>
          <a:custGeom>
            <a:avLst/>
            <a:gdLst>
              <a:gd name="connsiteX0" fmla="*/ 0 w 995503"/>
              <a:gd name="connsiteY0" fmla="*/ 214603 h 2522279"/>
              <a:gd name="connsiteX1" fmla="*/ 497752 w 995503"/>
              <a:gd name="connsiteY1" fmla="*/ 0 h 2522279"/>
              <a:gd name="connsiteX2" fmla="*/ 995503 w 995503"/>
              <a:gd name="connsiteY2" fmla="*/ 214603 h 2522279"/>
              <a:gd name="connsiteX3" fmla="*/ 0 w 995503"/>
              <a:gd name="connsiteY3" fmla="*/ 2522279 h 2522279"/>
              <a:gd name="connsiteX4" fmla="*/ 0 w 995503"/>
              <a:gd name="connsiteY4" fmla="*/ 214604 h 2522279"/>
              <a:gd name="connsiteX5" fmla="*/ 995503 w 995503"/>
              <a:gd name="connsiteY5" fmla="*/ 214604 h 2522279"/>
              <a:gd name="connsiteX6" fmla="*/ 995503 w 995503"/>
              <a:gd name="connsiteY6" fmla="*/ 2522279 h 2522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5503" h="2522279">
                <a:moveTo>
                  <a:pt x="0" y="214603"/>
                </a:moveTo>
                <a:lnTo>
                  <a:pt x="497752" y="0"/>
                </a:lnTo>
                <a:lnTo>
                  <a:pt x="995503" y="214603"/>
                </a:lnTo>
                <a:close/>
                <a:moveTo>
                  <a:pt x="0" y="2522279"/>
                </a:moveTo>
                <a:lnTo>
                  <a:pt x="0" y="214604"/>
                </a:lnTo>
                <a:lnTo>
                  <a:pt x="995503" y="214604"/>
                </a:lnTo>
                <a:lnTo>
                  <a:pt x="995503" y="2522279"/>
                </a:lnTo>
                <a:close/>
              </a:path>
            </a:pathLst>
          </a:custGeom>
          <a:solidFill>
            <a:srgbClr val="003E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27BCC4-405B-755F-B5CC-7B9E91250AC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19">
            <a:extLst>
              <a:ext uri="{FF2B5EF4-FFF2-40B4-BE49-F238E27FC236}">
                <a16:creationId xmlns:a16="http://schemas.microsoft.com/office/drawing/2014/main" id="{F0B14C5E-AD37-2289-53C4-62CB733A30FC}"/>
              </a:ext>
            </a:extLst>
          </p:cNvPr>
          <p:cNvSpPr>
            <a:spLocks noGrp="1"/>
          </p:cNvSpPr>
          <p:nvPr>
            <p:ph type="sldNum" sz="quarter" idx="27"/>
            <p:custDataLst>
              <p:tags r:id="rId2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2B722DBA-CF0F-7231-3EC0-F8BC414D698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32483" y="1983722"/>
            <a:ext cx="1670894" cy="492443"/>
          </a:xfrm>
        </p:spPr>
        <p:txBody>
          <a:bodyPr wrap="square" anchor="ctr" anchorCtr="0">
            <a:spAutoFit/>
          </a:bodyPr>
          <a:lstStyle>
            <a:lvl1pPr algn="l">
              <a:spcBef>
                <a:spcPts val="0"/>
              </a:spcBef>
              <a:defRPr sz="1600">
                <a:solidFill>
                  <a:srgbClr val="FFFFFF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03F99605-714C-BBB4-ED51-29995E1A0406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32036" y="1983722"/>
            <a:ext cx="493776" cy="492443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1247B398-B828-2FA1-F4A7-32EF4DF2C5C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376165" y="2122221"/>
            <a:ext cx="2468880" cy="215444"/>
          </a:xfrm>
        </p:spPr>
        <p:txBody>
          <a:bodyPr anchor="ctr" anchorCtr="0">
            <a:spAutoFit/>
          </a:bodyPr>
          <a:lstStyle>
            <a:lvl1pPr marL="182880" indent="-182880" algn="l">
              <a:spcBef>
                <a:spcPts val="300"/>
              </a:spcBef>
              <a:buFont typeface="Arial" panose="020B0604020202020204" pitchFamily="34" charset="0"/>
              <a:buChar char="•"/>
              <a:defRPr sz="140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3984B87-AC98-B294-4E44-EFDE1835538A}"/>
              </a:ext>
            </a:extLst>
          </p:cNvPr>
          <p:cNvSpPr/>
          <p:nvPr userDrawn="1"/>
        </p:nvSpPr>
        <p:spPr>
          <a:xfrm>
            <a:off x="2832335" y="3499766"/>
            <a:ext cx="8845315" cy="21738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923C4AE-5095-F5D6-40A1-FCD2CE128D03}"/>
              </a:ext>
            </a:extLst>
          </p:cNvPr>
          <p:cNvSpPr/>
          <p:nvPr userDrawn="1"/>
        </p:nvSpPr>
        <p:spPr>
          <a:xfrm rot="5400000">
            <a:off x="697271" y="3325569"/>
            <a:ext cx="2173886" cy="2522281"/>
          </a:xfrm>
          <a:custGeom>
            <a:avLst/>
            <a:gdLst>
              <a:gd name="connsiteX0" fmla="*/ 0 w 995503"/>
              <a:gd name="connsiteY0" fmla="*/ 214603 h 2522279"/>
              <a:gd name="connsiteX1" fmla="*/ 497752 w 995503"/>
              <a:gd name="connsiteY1" fmla="*/ 0 h 2522279"/>
              <a:gd name="connsiteX2" fmla="*/ 995503 w 995503"/>
              <a:gd name="connsiteY2" fmla="*/ 214603 h 2522279"/>
              <a:gd name="connsiteX3" fmla="*/ 0 w 995503"/>
              <a:gd name="connsiteY3" fmla="*/ 2522279 h 2522279"/>
              <a:gd name="connsiteX4" fmla="*/ 0 w 995503"/>
              <a:gd name="connsiteY4" fmla="*/ 214604 h 2522279"/>
              <a:gd name="connsiteX5" fmla="*/ 995503 w 995503"/>
              <a:gd name="connsiteY5" fmla="*/ 214604 h 2522279"/>
              <a:gd name="connsiteX6" fmla="*/ 995503 w 995503"/>
              <a:gd name="connsiteY6" fmla="*/ 2522279 h 2522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5503" h="2522279">
                <a:moveTo>
                  <a:pt x="0" y="214603"/>
                </a:moveTo>
                <a:lnTo>
                  <a:pt x="497752" y="0"/>
                </a:lnTo>
                <a:lnTo>
                  <a:pt x="995503" y="214603"/>
                </a:lnTo>
                <a:close/>
                <a:moveTo>
                  <a:pt x="0" y="2522279"/>
                </a:moveTo>
                <a:lnTo>
                  <a:pt x="0" y="214604"/>
                </a:lnTo>
                <a:lnTo>
                  <a:pt x="995503" y="214604"/>
                </a:lnTo>
                <a:lnTo>
                  <a:pt x="995503" y="2522279"/>
                </a:lnTo>
                <a:close/>
              </a:path>
            </a:pathLst>
          </a:custGeom>
          <a:solidFill>
            <a:srgbClr val="003E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77CB0B45-7459-4544-6891-386A3CDF1E0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232483" y="4340487"/>
            <a:ext cx="1670894" cy="492443"/>
          </a:xfrm>
        </p:spPr>
        <p:txBody>
          <a:bodyPr wrap="square" anchor="ctr" anchorCtr="0">
            <a:spAutoFit/>
          </a:bodyPr>
          <a:lstStyle>
            <a:lvl1pPr algn="l">
              <a:spcBef>
                <a:spcPts val="0"/>
              </a:spcBef>
              <a:defRPr sz="1600">
                <a:solidFill>
                  <a:srgbClr val="FFFFFF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8">
            <a:extLst>
              <a:ext uri="{FF2B5EF4-FFF2-40B4-BE49-F238E27FC236}">
                <a16:creationId xmlns:a16="http://schemas.microsoft.com/office/drawing/2014/main" id="{E875FF5B-2178-9D09-5A7E-2AC270E4612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32036" y="4340487"/>
            <a:ext cx="493776" cy="492443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97FEA079-77D3-5C86-30FA-402F40EE05F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76165" y="4478987"/>
            <a:ext cx="2468880" cy="215444"/>
          </a:xfrm>
        </p:spPr>
        <p:txBody>
          <a:bodyPr anchor="ctr" anchorCtr="0">
            <a:spAutoFit/>
          </a:bodyPr>
          <a:lstStyle>
            <a:lvl1pPr marL="182880" indent="-182880" algn="l">
              <a:spcBef>
                <a:spcPts val="300"/>
              </a:spcBef>
              <a:buFont typeface="Arial" panose="020B0604020202020204" pitchFamily="34" charset="0"/>
              <a:buChar char="•"/>
              <a:defRPr sz="140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22275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er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739D7AA-095F-796F-D318-26D7DCACB0C8}"/>
              </a:ext>
            </a:extLst>
          </p:cNvPr>
          <p:cNvSpPr/>
          <p:nvPr userDrawn="1"/>
        </p:nvSpPr>
        <p:spPr>
          <a:xfrm>
            <a:off x="2832335" y="1143000"/>
            <a:ext cx="8845315" cy="13882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14FAC13F-F09D-7F19-693A-7CFB39D46B5D}"/>
              </a:ext>
            </a:extLst>
          </p:cNvPr>
          <p:cNvSpPr/>
          <p:nvPr userDrawn="1"/>
        </p:nvSpPr>
        <p:spPr>
          <a:xfrm rot="5400000">
            <a:off x="1090064" y="576009"/>
            <a:ext cx="1388298" cy="2522280"/>
          </a:xfrm>
          <a:custGeom>
            <a:avLst/>
            <a:gdLst>
              <a:gd name="connsiteX0" fmla="*/ 0 w 995503"/>
              <a:gd name="connsiteY0" fmla="*/ 214603 h 2522279"/>
              <a:gd name="connsiteX1" fmla="*/ 497752 w 995503"/>
              <a:gd name="connsiteY1" fmla="*/ 0 h 2522279"/>
              <a:gd name="connsiteX2" fmla="*/ 995503 w 995503"/>
              <a:gd name="connsiteY2" fmla="*/ 214603 h 2522279"/>
              <a:gd name="connsiteX3" fmla="*/ 0 w 995503"/>
              <a:gd name="connsiteY3" fmla="*/ 2522279 h 2522279"/>
              <a:gd name="connsiteX4" fmla="*/ 0 w 995503"/>
              <a:gd name="connsiteY4" fmla="*/ 214604 h 2522279"/>
              <a:gd name="connsiteX5" fmla="*/ 995503 w 995503"/>
              <a:gd name="connsiteY5" fmla="*/ 214604 h 2522279"/>
              <a:gd name="connsiteX6" fmla="*/ 995503 w 995503"/>
              <a:gd name="connsiteY6" fmla="*/ 2522279 h 2522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5503" h="2522279">
                <a:moveTo>
                  <a:pt x="0" y="214603"/>
                </a:moveTo>
                <a:lnTo>
                  <a:pt x="497752" y="0"/>
                </a:lnTo>
                <a:lnTo>
                  <a:pt x="995503" y="214603"/>
                </a:lnTo>
                <a:close/>
                <a:moveTo>
                  <a:pt x="0" y="2522279"/>
                </a:moveTo>
                <a:lnTo>
                  <a:pt x="0" y="214604"/>
                </a:lnTo>
                <a:lnTo>
                  <a:pt x="995503" y="214604"/>
                </a:lnTo>
                <a:lnTo>
                  <a:pt x="995503" y="2522279"/>
                </a:lnTo>
                <a:close/>
              </a:path>
            </a:pathLst>
          </a:custGeom>
          <a:solidFill>
            <a:srgbClr val="003E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77EF7D-2B0C-7B5B-6898-D72DFC04D39A}"/>
              </a:ext>
            </a:extLst>
          </p:cNvPr>
          <p:cNvSpPr/>
          <p:nvPr userDrawn="1"/>
        </p:nvSpPr>
        <p:spPr>
          <a:xfrm>
            <a:off x="2832335" y="2714178"/>
            <a:ext cx="8845315" cy="13882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0EBFA8-32A3-0A49-37FB-55D527D18C38}"/>
              </a:ext>
            </a:extLst>
          </p:cNvPr>
          <p:cNvSpPr/>
          <p:nvPr userDrawn="1"/>
        </p:nvSpPr>
        <p:spPr>
          <a:xfrm>
            <a:off x="2832335" y="4285355"/>
            <a:ext cx="8845315" cy="13882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633F434-166E-73D6-FBFF-20D78A0E20EB}"/>
              </a:ext>
            </a:extLst>
          </p:cNvPr>
          <p:cNvSpPr/>
          <p:nvPr userDrawn="1"/>
        </p:nvSpPr>
        <p:spPr>
          <a:xfrm rot="5400000">
            <a:off x="1090064" y="2147186"/>
            <a:ext cx="1388298" cy="2522280"/>
          </a:xfrm>
          <a:custGeom>
            <a:avLst/>
            <a:gdLst>
              <a:gd name="connsiteX0" fmla="*/ 0 w 995503"/>
              <a:gd name="connsiteY0" fmla="*/ 214603 h 2522279"/>
              <a:gd name="connsiteX1" fmla="*/ 497752 w 995503"/>
              <a:gd name="connsiteY1" fmla="*/ 0 h 2522279"/>
              <a:gd name="connsiteX2" fmla="*/ 995503 w 995503"/>
              <a:gd name="connsiteY2" fmla="*/ 214603 h 2522279"/>
              <a:gd name="connsiteX3" fmla="*/ 0 w 995503"/>
              <a:gd name="connsiteY3" fmla="*/ 2522279 h 2522279"/>
              <a:gd name="connsiteX4" fmla="*/ 0 w 995503"/>
              <a:gd name="connsiteY4" fmla="*/ 214604 h 2522279"/>
              <a:gd name="connsiteX5" fmla="*/ 995503 w 995503"/>
              <a:gd name="connsiteY5" fmla="*/ 214604 h 2522279"/>
              <a:gd name="connsiteX6" fmla="*/ 995503 w 995503"/>
              <a:gd name="connsiteY6" fmla="*/ 2522279 h 2522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5503" h="2522279">
                <a:moveTo>
                  <a:pt x="0" y="214603"/>
                </a:moveTo>
                <a:lnTo>
                  <a:pt x="497752" y="0"/>
                </a:lnTo>
                <a:lnTo>
                  <a:pt x="995503" y="214603"/>
                </a:lnTo>
                <a:close/>
                <a:moveTo>
                  <a:pt x="0" y="2522279"/>
                </a:moveTo>
                <a:lnTo>
                  <a:pt x="0" y="214604"/>
                </a:lnTo>
                <a:lnTo>
                  <a:pt x="995503" y="214604"/>
                </a:lnTo>
                <a:lnTo>
                  <a:pt x="995503" y="2522279"/>
                </a:lnTo>
                <a:close/>
              </a:path>
            </a:pathLst>
          </a:custGeom>
          <a:solidFill>
            <a:srgbClr val="003E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DAFDBB66-BEBF-1796-A2D4-F0AAC242FCF0}"/>
              </a:ext>
            </a:extLst>
          </p:cNvPr>
          <p:cNvSpPr/>
          <p:nvPr userDrawn="1"/>
        </p:nvSpPr>
        <p:spPr>
          <a:xfrm rot="5400000">
            <a:off x="1090064" y="3718364"/>
            <a:ext cx="1388298" cy="2522280"/>
          </a:xfrm>
          <a:custGeom>
            <a:avLst/>
            <a:gdLst>
              <a:gd name="connsiteX0" fmla="*/ 0 w 995503"/>
              <a:gd name="connsiteY0" fmla="*/ 214603 h 2522279"/>
              <a:gd name="connsiteX1" fmla="*/ 497752 w 995503"/>
              <a:gd name="connsiteY1" fmla="*/ 0 h 2522279"/>
              <a:gd name="connsiteX2" fmla="*/ 995503 w 995503"/>
              <a:gd name="connsiteY2" fmla="*/ 214603 h 2522279"/>
              <a:gd name="connsiteX3" fmla="*/ 0 w 995503"/>
              <a:gd name="connsiteY3" fmla="*/ 2522279 h 2522279"/>
              <a:gd name="connsiteX4" fmla="*/ 0 w 995503"/>
              <a:gd name="connsiteY4" fmla="*/ 214604 h 2522279"/>
              <a:gd name="connsiteX5" fmla="*/ 995503 w 995503"/>
              <a:gd name="connsiteY5" fmla="*/ 214604 h 2522279"/>
              <a:gd name="connsiteX6" fmla="*/ 995503 w 995503"/>
              <a:gd name="connsiteY6" fmla="*/ 2522279 h 2522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5503" h="2522279">
                <a:moveTo>
                  <a:pt x="0" y="214603"/>
                </a:moveTo>
                <a:lnTo>
                  <a:pt x="497752" y="0"/>
                </a:lnTo>
                <a:lnTo>
                  <a:pt x="995503" y="214603"/>
                </a:lnTo>
                <a:close/>
                <a:moveTo>
                  <a:pt x="0" y="2522279"/>
                </a:moveTo>
                <a:lnTo>
                  <a:pt x="0" y="214604"/>
                </a:lnTo>
                <a:lnTo>
                  <a:pt x="995503" y="214604"/>
                </a:lnTo>
                <a:lnTo>
                  <a:pt x="995503" y="2522279"/>
                </a:lnTo>
                <a:close/>
              </a:path>
            </a:pathLst>
          </a:custGeom>
          <a:solidFill>
            <a:srgbClr val="003E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27BCC4-405B-755F-B5CC-7B9E91250AC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19">
            <a:extLst>
              <a:ext uri="{FF2B5EF4-FFF2-40B4-BE49-F238E27FC236}">
                <a16:creationId xmlns:a16="http://schemas.microsoft.com/office/drawing/2014/main" id="{F0B14C5E-AD37-2289-53C4-62CB733A30FC}"/>
              </a:ext>
            </a:extLst>
          </p:cNvPr>
          <p:cNvSpPr>
            <a:spLocks noGrp="1"/>
          </p:cNvSpPr>
          <p:nvPr>
            <p:ph type="sldNum" sz="quarter" idx="27"/>
            <p:custDataLst>
              <p:tags r:id="rId2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2B722DBA-CF0F-7231-3EC0-F8BC414D698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32483" y="1590927"/>
            <a:ext cx="1670894" cy="492443"/>
          </a:xfrm>
        </p:spPr>
        <p:txBody>
          <a:bodyPr wrap="square" anchor="ctr" anchorCtr="0">
            <a:spAutoFit/>
          </a:bodyPr>
          <a:lstStyle>
            <a:lvl1pPr algn="l">
              <a:spcBef>
                <a:spcPts val="0"/>
              </a:spcBef>
              <a:defRPr sz="1600">
                <a:solidFill>
                  <a:srgbClr val="FFFFFF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03F99605-714C-BBB4-ED51-29995E1A0406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32036" y="1590927"/>
            <a:ext cx="493776" cy="492443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1247B398-B828-2FA1-F4A7-32EF4DF2C5C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376165" y="1729427"/>
            <a:ext cx="2468880" cy="215444"/>
          </a:xfrm>
        </p:spPr>
        <p:txBody>
          <a:bodyPr anchor="ctr" anchorCtr="0">
            <a:spAutoFit/>
          </a:bodyPr>
          <a:lstStyle>
            <a:lvl1pPr marL="182880" indent="-182880" algn="l">
              <a:spcBef>
                <a:spcPts val="300"/>
              </a:spcBef>
              <a:buFont typeface="Arial" panose="020B0604020202020204" pitchFamily="34" charset="0"/>
              <a:buChar char="•"/>
              <a:defRPr sz="140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8F00B60C-F8F1-86C5-D413-AE0AEC58FE9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232483" y="3162105"/>
            <a:ext cx="1670894" cy="492443"/>
          </a:xfrm>
        </p:spPr>
        <p:txBody>
          <a:bodyPr wrap="square" anchor="ctr" anchorCtr="0">
            <a:spAutoFit/>
          </a:bodyPr>
          <a:lstStyle>
            <a:lvl1pPr algn="l">
              <a:spcBef>
                <a:spcPts val="0"/>
              </a:spcBef>
              <a:defRPr sz="1600">
                <a:solidFill>
                  <a:srgbClr val="FFFFFF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28">
            <a:extLst>
              <a:ext uri="{FF2B5EF4-FFF2-40B4-BE49-F238E27FC236}">
                <a16:creationId xmlns:a16="http://schemas.microsoft.com/office/drawing/2014/main" id="{A1354DC4-088A-418C-17A3-80945F4E098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32036" y="3162105"/>
            <a:ext cx="493776" cy="492443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989CFC30-6306-E839-82D7-928D10A2556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76165" y="3300605"/>
            <a:ext cx="2468880" cy="215444"/>
          </a:xfrm>
        </p:spPr>
        <p:txBody>
          <a:bodyPr anchor="ctr" anchorCtr="0">
            <a:spAutoFit/>
          </a:bodyPr>
          <a:lstStyle>
            <a:lvl1pPr marL="182880" indent="-182880" algn="l">
              <a:spcBef>
                <a:spcPts val="300"/>
              </a:spcBef>
              <a:buFont typeface="Arial" panose="020B0604020202020204" pitchFamily="34" charset="0"/>
              <a:buChar char="•"/>
              <a:defRPr sz="140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D2F5B20C-E345-265A-1912-C6EA9D40D4C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232483" y="4733283"/>
            <a:ext cx="1670894" cy="492443"/>
          </a:xfrm>
        </p:spPr>
        <p:txBody>
          <a:bodyPr wrap="square" anchor="ctr" anchorCtr="0">
            <a:spAutoFit/>
          </a:bodyPr>
          <a:lstStyle>
            <a:lvl1pPr algn="l">
              <a:spcBef>
                <a:spcPts val="0"/>
              </a:spcBef>
              <a:defRPr sz="1600">
                <a:solidFill>
                  <a:srgbClr val="FFFFFF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28">
            <a:extLst>
              <a:ext uri="{FF2B5EF4-FFF2-40B4-BE49-F238E27FC236}">
                <a16:creationId xmlns:a16="http://schemas.microsoft.com/office/drawing/2014/main" id="{F813F29E-F6E8-78D3-46B2-C84C1299FEEF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32036" y="4733283"/>
            <a:ext cx="493776" cy="492443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8282EB1-334B-4B58-6317-A6BEE51948B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376165" y="4871781"/>
            <a:ext cx="2468880" cy="215444"/>
          </a:xfrm>
        </p:spPr>
        <p:txBody>
          <a:bodyPr anchor="ctr" anchorCtr="0">
            <a:spAutoFit/>
          </a:bodyPr>
          <a:lstStyle>
            <a:lvl1pPr marL="182880" indent="-182880" algn="l">
              <a:spcBef>
                <a:spcPts val="300"/>
              </a:spcBef>
              <a:buFont typeface="Arial" panose="020B0604020202020204" pitchFamily="34" charset="0"/>
              <a:buChar char="•"/>
              <a:defRPr sz="140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1208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Image">
    <p:bg>
      <p:bgPr>
        <a:blipFill dpi="0" rotWithShape="1">
          <a:blip r:embed="rId7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4FB1041-A763-5777-4AA5-6179DA7F71E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131E29">
                  <a:alpha val="88000"/>
                </a:srgbClr>
              </a:gs>
              <a:gs pos="48000">
                <a:srgbClr val="131E29">
                  <a:alpha val="35000"/>
                </a:srgbClr>
              </a:gs>
              <a:gs pos="100000">
                <a:srgbClr val="131E29">
                  <a:alpha val="0"/>
                </a:srgbClr>
              </a:gs>
            </a:gsLst>
            <a:lin ang="21594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032E0255-35FE-A1A0-2506-3155C2A117F9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1"/>
            </p:custDataLst>
          </p:nvPr>
        </p:nvSpPr>
        <p:spPr>
          <a:xfrm>
            <a:off x="515939" y="4410000"/>
            <a:ext cx="5435599" cy="85724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  <a:latin typeface="Source Serif Pro" panose="02040603050405020204" pitchFamily="18" charset="0"/>
                <a:ea typeface="Source Serif Pro" panose="02040603050405020204" pitchFamily="18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i="1">
                <a:solidFill>
                  <a:schemeClr val="bg1"/>
                </a:solidFill>
                <a:latin typeface="Source Serif Pro" panose="02040603050405020204" pitchFamily="18" charset="0"/>
                <a:ea typeface="Source Serif Pro" panose="02040603050405020204" pitchFamily="18" charset="0"/>
                <a:cs typeface="Times New Roman" panose="02020603050405020304" pitchFamily="18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66C183-11CB-6D09-DF0F-07D41F14976C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15939" y="1018211"/>
            <a:ext cx="5435599" cy="1609724"/>
          </a:xfrm>
        </p:spPr>
        <p:txBody>
          <a:bodyPr anchor="b" anchorCtr="0"/>
          <a:lstStyle>
            <a:lvl1pPr>
              <a:defRPr sz="5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1666300-AC96-9E5B-73E2-1938B47672B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515939" y="3117850"/>
            <a:ext cx="5435599" cy="607559"/>
          </a:xfrm>
        </p:spPr>
        <p:txBody>
          <a:bodyPr anchor="t" anchorCtr="0"/>
          <a:lstStyle>
            <a:lvl1pPr>
              <a:defRPr sz="1800" b="0" i="0">
                <a:solidFill>
                  <a:schemeClr val="bg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>
              <a:defRPr sz="2000" b="1" i="0">
                <a:latin typeface="+mj-lt"/>
              </a:defRPr>
            </a:lvl2pPr>
            <a:lvl3pPr>
              <a:defRPr sz="2000" b="1" i="0">
                <a:latin typeface="+mj-lt"/>
              </a:defRPr>
            </a:lvl3pPr>
            <a:lvl4pPr>
              <a:defRPr sz="2000" b="1" i="0">
                <a:latin typeface="+mj-lt"/>
              </a:defRPr>
            </a:lvl4pPr>
            <a:lvl5pPr>
              <a:defRPr sz="2000" b="1" i="0">
                <a:latin typeface="+mj-lt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0A5BE99-580C-FF1F-3A9A-C5717FF4D17D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9" y="6180635"/>
            <a:ext cx="4315968" cy="4433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EB447D1-3742-49B3-85A7-A4E6E95C055C}"/>
              </a:ext>
            </a:extLst>
          </p:cNvPr>
          <p:cNvSpPr txBox="1"/>
          <p:nvPr userDrawn="1"/>
        </p:nvSpPr>
        <p:spPr>
          <a:xfrm>
            <a:off x="11002780" y="77948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600" err="1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5A71F771-3FED-B5AC-79CB-A267A8FD2DB5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979561" y="6328327"/>
            <a:ext cx="3698089" cy="1238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z="800"/>
              <a:t>©2025 Jones Lang LaSalle I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777912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er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7BCC4-405B-755F-B5CC-7B9E91250AC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19">
            <a:extLst>
              <a:ext uri="{FF2B5EF4-FFF2-40B4-BE49-F238E27FC236}">
                <a16:creationId xmlns:a16="http://schemas.microsoft.com/office/drawing/2014/main" id="{F0B14C5E-AD37-2289-53C4-62CB733A30FC}"/>
              </a:ext>
            </a:extLst>
          </p:cNvPr>
          <p:cNvSpPr>
            <a:spLocks noGrp="1"/>
          </p:cNvSpPr>
          <p:nvPr>
            <p:ph type="sldNum" sz="quarter" idx="27"/>
            <p:custDataLst>
              <p:tags r:id="rId2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39D7AA-095F-796F-D318-26D7DCACB0C8}"/>
              </a:ext>
            </a:extLst>
          </p:cNvPr>
          <p:cNvSpPr/>
          <p:nvPr userDrawn="1"/>
        </p:nvSpPr>
        <p:spPr>
          <a:xfrm>
            <a:off x="2833040" y="1143000"/>
            <a:ext cx="8845315" cy="99550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7AC139A-70F3-1FEE-DA1D-9FEC100A5178}"/>
              </a:ext>
            </a:extLst>
          </p:cNvPr>
          <p:cNvSpPr/>
          <p:nvPr userDrawn="1"/>
        </p:nvSpPr>
        <p:spPr>
          <a:xfrm>
            <a:off x="2833040" y="2321383"/>
            <a:ext cx="8845315" cy="99550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A14B98-E1A7-9A72-5454-EDE228217019}"/>
              </a:ext>
            </a:extLst>
          </p:cNvPr>
          <p:cNvSpPr/>
          <p:nvPr userDrawn="1"/>
        </p:nvSpPr>
        <p:spPr>
          <a:xfrm>
            <a:off x="2833040" y="3499767"/>
            <a:ext cx="8845315" cy="99550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EE1F32-A559-381C-2CB5-960B28FAB358}"/>
              </a:ext>
            </a:extLst>
          </p:cNvPr>
          <p:cNvSpPr/>
          <p:nvPr userDrawn="1"/>
        </p:nvSpPr>
        <p:spPr>
          <a:xfrm>
            <a:off x="2833040" y="4678150"/>
            <a:ext cx="8845315" cy="99550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FCEBEA12-8A24-AF91-8CB6-C8D00447D22C}"/>
              </a:ext>
            </a:extLst>
          </p:cNvPr>
          <p:cNvSpPr/>
          <p:nvPr userDrawn="1"/>
        </p:nvSpPr>
        <p:spPr>
          <a:xfrm rot="5400000">
            <a:off x="1288752" y="3914762"/>
            <a:ext cx="995504" cy="2522279"/>
          </a:xfrm>
          <a:custGeom>
            <a:avLst/>
            <a:gdLst>
              <a:gd name="connsiteX0" fmla="*/ 1 w 995504"/>
              <a:gd name="connsiteY0" fmla="*/ 214603 h 2522279"/>
              <a:gd name="connsiteX1" fmla="*/ 497753 w 995504"/>
              <a:gd name="connsiteY1" fmla="*/ 0 h 2522279"/>
              <a:gd name="connsiteX2" fmla="*/ 995504 w 995504"/>
              <a:gd name="connsiteY2" fmla="*/ 214603 h 2522279"/>
              <a:gd name="connsiteX3" fmla="*/ 0 w 995504"/>
              <a:gd name="connsiteY3" fmla="*/ 2522279 h 2522279"/>
              <a:gd name="connsiteX4" fmla="*/ 0 w 995504"/>
              <a:gd name="connsiteY4" fmla="*/ 214604 h 2522279"/>
              <a:gd name="connsiteX5" fmla="*/ 995503 w 995504"/>
              <a:gd name="connsiteY5" fmla="*/ 214604 h 2522279"/>
              <a:gd name="connsiteX6" fmla="*/ 995503 w 995504"/>
              <a:gd name="connsiteY6" fmla="*/ 2522279 h 2522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5504" h="2522279">
                <a:moveTo>
                  <a:pt x="1" y="214603"/>
                </a:moveTo>
                <a:lnTo>
                  <a:pt x="497753" y="0"/>
                </a:lnTo>
                <a:lnTo>
                  <a:pt x="995504" y="214603"/>
                </a:lnTo>
                <a:close/>
                <a:moveTo>
                  <a:pt x="0" y="2522279"/>
                </a:moveTo>
                <a:lnTo>
                  <a:pt x="0" y="214604"/>
                </a:lnTo>
                <a:lnTo>
                  <a:pt x="995503" y="214604"/>
                </a:lnTo>
                <a:lnTo>
                  <a:pt x="995503" y="2522279"/>
                </a:lnTo>
                <a:close/>
              </a:path>
            </a:pathLst>
          </a:custGeom>
          <a:solidFill>
            <a:srgbClr val="003E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172F84F1-4BA4-FBE0-EDA2-309E41DC3B5B}"/>
              </a:ext>
            </a:extLst>
          </p:cNvPr>
          <p:cNvSpPr/>
          <p:nvPr userDrawn="1"/>
        </p:nvSpPr>
        <p:spPr>
          <a:xfrm rot="5400000">
            <a:off x="1288752" y="2736378"/>
            <a:ext cx="995504" cy="2522279"/>
          </a:xfrm>
          <a:custGeom>
            <a:avLst/>
            <a:gdLst>
              <a:gd name="connsiteX0" fmla="*/ 1 w 995504"/>
              <a:gd name="connsiteY0" fmla="*/ 214603 h 2522279"/>
              <a:gd name="connsiteX1" fmla="*/ 497753 w 995504"/>
              <a:gd name="connsiteY1" fmla="*/ 0 h 2522279"/>
              <a:gd name="connsiteX2" fmla="*/ 995504 w 995504"/>
              <a:gd name="connsiteY2" fmla="*/ 214603 h 2522279"/>
              <a:gd name="connsiteX3" fmla="*/ 0 w 995504"/>
              <a:gd name="connsiteY3" fmla="*/ 2522279 h 2522279"/>
              <a:gd name="connsiteX4" fmla="*/ 0 w 995504"/>
              <a:gd name="connsiteY4" fmla="*/ 214604 h 2522279"/>
              <a:gd name="connsiteX5" fmla="*/ 995503 w 995504"/>
              <a:gd name="connsiteY5" fmla="*/ 214604 h 2522279"/>
              <a:gd name="connsiteX6" fmla="*/ 995503 w 995504"/>
              <a:gd name="connsiteY6" fmla="*/ 2522279 h 2522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5504" h="2522279">
                <a:moveTo>
                  <a:pt x="1" y="214603"/>
                </a:moveTo>
                <a:lnTo>
                  <a:pt x="497753" y="0"/>
                </a:lnTo>
                <a:lnTo>
                  <a:pt x="995504" y="214603"/>
                </a:lnTo>
                <a:close/>
                <a:moveTo>
                  <a:pt x="0" y="2522279"/>
                </a:moveTo>
                <a:lnTo>
                  <a:pt x="0" y="214604"/>
                </a:lnTo>
                <a:lnTo>
                  <a:pt x="995503" y="214604"/>
                </a:lnTo>
                <a:lnTo>
                  <a:pt x="995503" y="2522279"/>
                </a:lnTo>
                <a:close/>
              </a:path>
            </a:pathLst>
          </a:custGeom>
          <a:solidFill>
            <a:srgbClr val="003E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C011A53D-C3DE-B5FB-143B-487DAA19F88D}"/>
              </a:ext>
            </a:extLst>
          </p:cNvPr>
          <p:cNvSpPr/>
          <p:nvPr userDrawn="1"/>
        </p:nvSpPr>
        <p:spPr>
          <a:xfrm rot="5400000">
            <a:off x="1288753" y="1557995"/>
            <a:ext cx="995503" cy="2522279"/>
          </a:xfrm>
          <a:custGeom>
            <a:avLst/>
            <a:gdLst>
              <a:gd name="connsiteX0" fmla="*/ 0 w 995503"/>
              <a:gd name="connsiteY0" fmla="*/ 214603 h 2522279"/>
              <a:gd name="connsiteX1" fmla="*/ 497752 w 995503"/>
              <a:gd name="connsiteY1" fmla="*/ 0 h 2522279"/>
              <a:gd name="connsiteX2" fmla="*/ 995503 w 995503"/>
              <a:gd name="connsiteY2" fmla="*/ 214603 h 2522279"/>
              <a:gd name="connsiteX3" fmla="*/ 0 w 995503"/>
              <a:gd name="connsiteY3" fmla="*/ 2522279 h 2522279"/>
              <a:gd name="connsiteX4" fmla="*/ 0 w 995503"/>
              <a:gd name="connsiteY4" fmla="*/ 214604 h 2522279"/>
              <a:gd name="connsiteX5" fmla="*/ 995503 w 995503"/>
              <a:gd name="connsiteY5" fmla="*/ 214604 h 2522279"/>
              <a:gd name="connsiteX6" fmla="*/ 995503 w 995503"/>
              <a:gd name="connsiteY6" fmla="*/ 2522279 h 2522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5503" h="2522279">
                <a:moveTo>
                  <a:pt x="0" y="214603"/>
                </a:moveTo>
                <a:lnTo>
                  <a:pt x="497752" y="0"/>
                </a:lnTo>
                <a:lnTo>
                  <a:pt x="995503" y="214603"/>
                </a:lnTo>
                <a:close/>
                <a:moveTo>
                  <a:pt x="0" y="2522279"/>
                </a:moveTo>
                <a:lnTo>
                  <a:pt x="0" y="214604"/>
                </a:lnTo>
                <a:lnTo>
                  <a:pt x="995503" y="214604"/>
                </a:lnTo>
                <a:lnTo>
                  <a:pt x="995503" y="2522279"/>
                </a:lnTo>
                <a:close/>
              </a:path>
            </a:pathLst>
          </a:custGeom>
          <a:solidFill>
            <a:srgbClr val="003E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14FAC13F-F09D-7F19-693A-7CFB39D46B5D}"/>
              </a:ext>
            </a:extLst>
          </p:cNvPr>
          <p:cNvSpPr/>
          <p:nvPr userDrawn="1"/>
        </p:nvSpPr>
        <p:spPr>
          <a:xfrm rot="5400000">
            <a:off x="1288753" y="379612"/>
            <a:ext cx="995503" cy="2522279"/>
          </a:xfrm>
          <a:custGeom>
            <a:avLst/>
            <a:gdLst>
              <a:gd name="connsiteX0" fmla="*/ 0 w 995503"/>
              <a:gd name="connsiteY0" fmla="*/ 214603 h 2522279"/>
              <a:gd name="connsiteX1" fmla="*/ 497752 w 995503"/>
              <a:gd name="connsiteY1" fmla="*/ 0 h 2522279"/>
              <a:gd name="connsiteX2" fmla="*/ 995503 w 995503"/>
              <a:gd name="connsiteY2" fmla="*/ 214603 h 2522279"/>
              <a:gd name="connsiteX3" fmla="*/ 0 w 995503"/>
              <a:gd name="connsiteY3" fmla="*/ 2522279 h 2522279"/>
              <a:gd name="connsiteX4" fmla="*/ 0 w 995503"/>
              <a:gd name="connsiteY4" fmla="*/ 214604 h 2522279"/>
              <a:gd name="connsiteX5" fmla="*/ 995503 w 995503"/>
              <a:gd name="connsiteY5" fmla="*/ 214604 h 2522279"/>
              <a:gd name="connsiteX6" fmla="*/ 995503 w 995503"/>
              <a:gd name="connsiteY6" fmla="*/ 2522279 h 2522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5503" h="2522279">
                <a:moveTo>
                  <a:pt x="0" y="214603"/>
                </a:moveTo>
                <a:lnTo>
                  <a:pt x="497752" y="0"/>
                </a:lnTo>
                <a:lnTo>
                  <a:pt x="995503" y="214603"/>
                </a:lnTo>
                <a:close/>
                <a:moveTo>
                  <a:pt x="0" y="2522279"/>
                </a:moveTo>
                <a:lnTo>
                  <a:pt x="0" y="214604"/>
                </a:lnTo>
                <a:lnTo>
                  <a:pt x="995503" y="214604"/>
                </a:lnTo>
                <a:lnTo>
                  <a:pt x="995503" y="2522279"/>
                </a:lnTo>
                <a:close/>
              </a:path>
            </a:pathLst>
          </a:custGeom>
          <a:solidFill>
            <a:srgbClr val="003E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2B722DBA-CF0F-7231-3EC0-F8BC414D698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32483" y="1394530"/>
            <a:ext cx="1670894" cy="492443"/>
          </a:xfrm>
        </p:spPr>
        <p:txBody>
          <a:bodyPr wrap="square" anchor="ctr" anchorCtr="0">
            <a:spAutoFit/>
          </a:bodyPr>
          <a:lstStyle>
            <a:lvl1pPr algn="l">
              <a:spcBef>
                <a:spcPts val="0"/>
              </a:spcBef>
              <a:defRPr sz="1600">
                <a:solidFill>
                  <a:srgbClr val="FFFFFF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8BEB89BF-A4F1-621C-A465-B12A4BA37EE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232483" y="2572912"/>
            <a:ext cx="1670894" cy="492443"/>
          </a:xfrm>
        </p:spPr>
        <p:txBody>
          <a:bodyPr wrap="square" anchor="ctr" anchorCtr="0">
            <a:spAutoFit/>
          </a:bodyPr>
          <a:lstStyle>
            <a:lvl1pPr algn="l">
              <a:spcBef>
                <a:spcPts val="0"/>
              </a:spcBef>
              <a:defRPr sz="1600">
                <a:solidFill>
                  <a:srgbClr val="FFFFFF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8742C7E3-A894-3097-52E2-A602A7C0DD9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232483" y="3751296"/>
            <a:ext cx="1670894" cy="492443"/>
          </a:xfrm>
        </p:spPr>
        <p:txBody>
          <a:bodyPr wrap="square" anchor="ctr" anchorCtr="0">
            <a:spAutoFit/>
          </a:bodyPr>
          <a:lstStyle>
            <a:lvl1pPr algn="l">
              <a:spcBef>
                <a:spcPts val="0"/>
              </a:spcBef>
              <a:defRPr sz="1600">
                <a:solidFill>
                  <a:srgbClr val="FFFFFF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273E70AD-5251-13BD-383C-5C32FDD4907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232483" y="4929679"/>
            <a:ext cx="1670894" cy="492443"/>
          </a:xfrm>
        </p:spPr>
        <p:txBody>
          <a:bodyPr wrap="square" anchor="ctr" anchorCtr="0">
            <a:spAutoFit/>
          </a:bodyPr>
          <a:lstStyle>
            <a:lvl1pPr algn="l">
              <a:spcBef>
                <a:spcPts val="0"/>
              </a:spcBef>
              <a:defRPr sz="1600">
                <a:solidFill>
                  <a:srgbClr val="FFFFFF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03F99605-714C-BBB4-ED51-29995E1A0406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32036" y="1394529"/>
            <a:ext cx="493776" cy="492443"/>
          </a:xfrm>
        </p:spPr>
        <p:txBody>
          <a:bodyPr/>
          <a:lstStyle/>
          <a:p>
            <a:endParaRPr lang="en-US"/>
          </a:p>
        </p:txBody>
      </p:sp>
      <p:sp>
        <p:nvSpPr>
          <p:cNvPr id="30" name="Picture Placeholder 28">
            <a:extLst>
              <a:ext uri="{FF2B5EF4-FFF2-40B4-BE49-F238E27FC236}">
                <a16:creationId xmlns:a16="http://schemas.microsoft.com/office/drawing/2014/main" id="{5C53A189-DB5A-E334-495C-1EC95C9172CE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32036" y="2572913"/>
            <a:ext cx="493776" cy="492443"/>
          </a:xfrm>
        </p:spPr>
        <p:txBody>
          <a:bodyPr/>
          <a:lstStyle/>
          <a:p>
            <a:endParaRPr lang="en-US"/>
          </a:p>
        </p:txBody>
      </p:sp>
      <p:sp>
        <p:nvSpPr>
          <p:cNvPr id="31" name="Picture Placeholder 28">
            <a:extLst>
              <a:ext uri="{FF2B5EF4-FFF2-40B4-BE49-F238E27FC236}">
                <a16:creationId xmlns:a16="http://schemas.microsoft.com/office/drawing/2014/main" id="{0C80017C-1618-6AEB-24F6-AF47359C684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32036" y="3751296"/>
            <a:ext cx="493776" cy="492443"/>
          </a:xfrm>
        </p:spPr>
        <p:txBody>
          <a:bodyPr/>
          <a:lstStyle/>
          <a:p>
            <a:endParaRPr lang="en-US"/>
          </a:p>
        </p:txBody>
      </p:sp>
      <p:sp>
        <p:nvSpPr>
          <p:cNvPr id="32" name="Picture Placeholder 28">
            <a:extLst>
              <a:ext uri="{FF2B5EF4-FFF2-40B4-BE49-F238E27FC236}">
                <a16:creationId xmlns:a16="http://schemas.microsoft.com/office/drawing/2014/main" id="{546953D4-DCE5-E515-19C3-4A9F37C2B24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32036" y="4929679"/>
            <a:ext cx="493776" cy="492443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1247B398-B828-2FA1-F4A7-32EF4DF2C5C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376165" y="1533029"/>
            <a:ext cx="2468880" cy="215444"/>
          </a:xfrm>
        </p:spPr>
        <p:txBody>
          <a:bodyPr anchor="ctr" anchorCtr="0">
            <a:spAutoFit/>
          </a:bodyPr>
          <a:lstStyle>
            <a:lvl1pPr marL="182880" indent="-182880" algn="l">
              <a:spcBef>
                <a:spcPts val="300"/>
              </a:spcBef>
              <a:buFont typeface="Arial" panose="020B0604020202020204" pitchFamily="34" charset="0"/>
              <a:buChar char="•"/>
              <a:defRPr sz="140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58BE805A-572A-9D61-C1B8-3B08E87E460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76165" y="2711412"/>
            <a:ext cx="2468880" cy="215444"/>
          </a:xfrm>
        </p:spPr>
        <p:txBody>
          <a:bodyPr anchor="ctr" anchorCtr="0">
            <a:spAutoFit/>
          </a:bodyPr>
          <a:lstStyle>
            <a:lvl1pPr marL="182880" indent="-182880" algn="l">
              <a:spcBef>
                <a:spcPts val="300"/>
              </a:spcBef>
              <a:buFont typeface="Arial" panose="020B0604020202020204" pitchFamily="34" charset="0"/>
              <a:buChar char="•"/>
              <a:defRPr sz="140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16">
            <a:extLst>
              <a:ext uri="{FF2B5EF4-FFF2-40B4-BE49-F238E27FC236}">
                <a16:creationId xmlns:a16="http://schemas.microsoft.com/office/drawing/2014/main" id="{CDF611A2-DF6C-82DD-C58B-F4BBE57FC68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76165" y="3889797"/>
            <a:ext cx="2468880" cy="215444"/>
          </a:xfrm>
        </p:spPr>
        <p:txBody>
          <a:bodyPr anchor="ctr" anchorCtr="0">
            <a:spAutoFit/>
          </a:bodyPr>
          <a:lstStyle>
            <a:lvl1pPr marL="182880" indent="-182880" algn="l">
              <a:spcBef>
                <a:spcPts val="300"/>
              </a:spcBef>
              <a:buFont typeface="Arial" panose="020B0604020202020204" pitchFamily="34" charset="0"/>
              <a:buChar char="•"/>
              <a:defRPr sz="140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6A5F7B3D-9413-3F0D-2532-C42C1E6BE93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76165" y="5068179"/>
            <a:ext cx="2468880" cy="215444"/>
          </a:xfrm>
        </p:spPr>
        <p:txBody>
          <a:bodyPr anchor="ctr" anchorCtr="0">
            <a:spAutoFit/>
          </a:bodyPr>
          <a:lstStyle>
            <a:lvl1pPr marL="182880" indent="-182880" algn="l">
              <a:spcBef>
                <a:spcPts val="300"/>
              </a:spcBef>
              <a:buFont typeface="Arial" panose="020B0604020202020204" pitchFamily="34" charset="0"/>
              <a:buChar char="•"/>
              <a:defRPr sz="140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86044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_4_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7BCC4-405B-755F-B5CC-7B9E91250AC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19">
            <a:extLst>
              <a:ext uri="{FF2B5EF4-FFF2-40B4-BE49-F238E27FC236}">
                <a16:creationId xmlns:a16="http://schemas.microsoft.com/office/drawing/2014/main" id="{F0B14C5E-AD37-2289-53C4-62CB733A30FC}"/>
              </a:ext>
            </a:extLst>
          </p:cNvPr>
          <p:cNvSpPr>
            <a:spLocks noGrp="1"/>
          </p:cNvSpPr>
          <p:nvPr>
            <p:ph type="sldNum" sz="quarter" idx="27"/>
            <p:custDataLst>
              <p:tags r:id="rId2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0BB3D1-13A0-E7E2-436D-74ADABC2D69D}"/>
              </a:ext>
            </a:extLst>
          </p:cNvPr>
          <p:cNvSpPr/>
          <p:nvPr userDrawn="1"/>
        </p:nvSpPr>
        <p:spPr>
          <a:xfrm>
            <a:off x="533400" y="1448526"/>
            <a:ext cx="2718828" cy="705796"/>
          </a:xfrm>
          <a:prstGeom prst="rect">
            <a:avLst/>
          </a:prstGeom>
          <a:solidFill>
            <a:srgbClr val="003E51">
              <a:alpha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9687522-6172-3A94-2B07-48B3654D8718}"/>
              </a:ext>
            </a:extLst>
          </p:cNvPr>
          <p:cNvSpPr/>
          <p:nvPr userDrawn="1"/>
        </p:nvSpPr>
        <p:spPr>
          <a:xfrm>
            <a:off x="1601214" y="1143000"/>
            <a:ext cx="583200" cy="583200"/>
          </a:xfrm>
          <a:prstGeom prst="ellipse">
            <a:avLst/>
          </a:prstGeom>
          <a:solidFill>
            <a:srgbClr val="BFCFD3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31E29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E7FDD8-AF27-3AB0-E584-89608EB59066}"/>
              </a:ext>
            </a:extLst>
          </p:cNvPr>
          <p:cNvSpPr/>
          <p:nvPr userDrawn="1"/>
        </p:nvSpPr>
        <p:spPr>
          <a:xfrm>
            <a:off x="533400" y="2234782"/>
            <a:ext cx="2718828" cy="3534289"/>
          </a:xfrm>
          <a:prstGeom prst="rect">
            <a:avLst/>
          </a:prstGeom>
          <a:solidFill>
            <a:srgbClr val="003E51">
              <a:alpha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marR="0" lvl="0" indent="0" defTabSz="91440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kern="0"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9F27E0-B2A1-820B-8FC4-C5115BA1D7AC}"/>
              </a:ext>
            </a:extLst>
          </p:cNvPr>
          <p:cNvSpPr/>
          <p:nvPr userDrawn="1"/>
        </p:nvSpPr>
        <p:spPr>
          <a:xfrm>
            <a:off x="3334883" y="1448526"/>
            <a:ext cx="2718828" cy="705796"/>
          </a:xfrm>
          <a:prstGeom prst="rect">
            <a:avLst/>
          </a:prstGeom>
          <a:solidFill>
            <a:srgbClr val="003E51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2AB9C86-F54C-B01A-C510-99C52FAD584E}"/>
              </a:ext>
            </a:extLst>
          </p:cNvPr>
          <p:cNvSpPr/>
          <p:nvPr userDrawn="1"/>
        </p:nvSpPr>
        <p:spPr>
          <a:xfrm>
            <a:off x="4402697" y="1147019"/>
            <a:ext cx="583200" cy="583200"/>
          </a:xfrm>
          <a:prstGeom prst="ellipse">
            <a:avLst/>
          </a:prstGeom>
          <a:solidFill>
            <a:srgbClr val="7F9EA8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1EC25D-FF36-B7E6-77F5-2B87588AB340}"/>
              </a:ext>
            </a:extLst>
          </p:cNvPr>
          <p:cNvSpPr/>
          <p:nvPr userDrawn="1"/>
        </p:nvSpPr>
        <p:spPr>
          <a:xfrm>
            <a:off x="3334883" y="2234782"/>
            <a:ext cx="2718828" cy="3534289"/>
          </a:xfrm>
          <a:prstGeom prst="rect">
            <a:avLst/>
          </a:prstGeom>
          <a:solidFill>
            <a:srgbClr val="003E51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marR="0" lvl="0" indent="0" defTabSz="91440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29CEE0-7ECA-81C8-9581-12A7DBF1574D}"/>
              </a:ext>
            </a:extLst>
          </p:cNvPr>
          <p:cNvSpPr/>
          <p:nvPr userDrawn="1"/>
        </p:nvSpPr>
        <p:spPr>
          <a:xfrm>
            <a:off x="6137262" y="1448526"/>
            <a:ext cx="2718828" cy="705796"/>
          </a:xfrm>
          <a:prstGeom prst="rect">
            <a:avLst/>
          </a:prstGeom>
          <a:solidFill>
            <a:srgbClr val="003E51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b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endParaRPr lang="en-US" sz="200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F773645-12E7-D8D5-BD3B-87CF0B548BEA}"/>
              </a:ext>
            </a:extLst>
          </p:cNvPr>
          <p:cNvSpPr/>
          <p:nvPr userDrawn="1"/>
        </p:nvSpPr>
        <p:spPr>
          <a:xfrm>
            <a:off x="7205075" y="1147019"/>
            <a:ext cx="583200" cy="584694"/>
          </a:xfrm>
          <a:prstGeom prst="ellipse">
            <a:avLst/>
          </a:prstGeom>
          <a:solidFill>
            <a:srgbClr val="406E7D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3304374-03D1-98F8-C095-4D8895681A87}"/>
              </a:ext>
            </a:extLst>
          </p:cNvPr>
          <p:cNvSpPr/>
          <p:nvPr userDrawn="1"/>
        </p:nvSpPr>
        <p:spPr>
          <a:xfrm>
            <a:off x="6137262" y="2234782"/>
            <a:ext cx="2718828" cy="3534289"/>
          </a:xfrm>
          <a:prstGeom prst="rect">
            <a:avLst/>
          </a:prstGeom>
          <a:solidFill>
            <a:srgbClr val="003E51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endParaRPr lang="en-US" sz="1400" b="1" kern="0">
              <a:solidFill>
                <a:srgbClr val="FFFFFF"/>
              </a:solidFill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A22C0F-7FD2-8CA2-F2B9-9A14303B4624}"/>
              </a:ext>
            </a:extLst>
          </p:cNvPr>
          <p:cNvSpPr/>
          <p:nvPr userDrawn="1"/>
        </p:nvSpPr>
        <p:spPr>
          <a:xfrm>
            <a:off x="8964976" y="1448526"/>
            <a:ext cx="2718828" cy="705796"/>
          </a:xfrm>
          <a:prstGeom prst="rect">
            <a:avLst/>
          </a:prstGeom>
          <a:solidFill>
            <a:srgbClr val="003E5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F7B0CC0-BA8E-A78F-E8FE-B21BA126CCBA}"/>
              </a:ext>
            </a:extLst>
          </p:cNvPr>
          <p:cNvSpPr/>
          <p:nvPr userDrawn="1"/>
        </p:nvSpPr>
        <p:spPr>
          <a:xfrm>
            <a:off x="10032791" y="1181656"/>
            <a:ext cx="583200" cy="584694"/>
          </a:xfrm>
          <a:prstGeom prst="ellipse">
            <a:avLst/>
          </a:prstGeom>
          <a:solidFill>
            <a:srgbClr val="003E51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4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57A92E4-814E-EA8B-512D-C6208E4F7CB5}"/>
              </a:ext>
            </a:extLst>
          </p:cNvPr>
          <p:cNvSpPr/>
          <p:nvPr userDrawn="1"/>
        </p:nvSpPr>
        <p:spPr>
          <a:xfrm>
            <a:off x="8964977" y="2234782"/>
            <a:ext cx="2718828" cy="3534289"/>
          </a:xfrm>
          <a:prstGeom prst="rect">
            <a:avLst/>
          </a:prstGeom>
          <a:solidFill>
            <a:srgbClr val="003E5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endParaRPr lang="en-US" sz="1400" b="1" kern="0">
              <a:solidFill>
                <a:srgbClr val="FFFFFF"/>
              </a:solidFill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6929F36-824B-4E24-D064-B284EAB0A3A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8374" y="1807766"/>
            <a:ext cx="2468880" cy="553998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1800"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AEB756A5-E673-FD74-8780-A12E7368945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59857" y="1807766"/>
            <a:ext cx="2468880" cy="553998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1800">
                <a:solidFill>
                  <a:schemeClr val="bg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5FB667C5-C77E-7CA9-C44A-C726F6961A5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262235" y="1807766"/>
            <a:ext cx="2468880" cy="553998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1800">
                <a:solidFill>
                  <a:schemeClr val="bg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F2D7363E-E901-87FD-EF1E-E7DAE4AE0A8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89951" y="1807766"/>
            <a:ext cx="2468880" cy="553998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1800">
                <a:solidFill>
                  <a:schemeClr val="bg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B2CC5B7E-50E3-3735-DE40-D5CA2F2F992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58374" y="2405840"/>
            <a:ext cx="246888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864AE9D-E8BC-2731-14EC-05486E48F98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59857" y="2405840"/>
            <a:ext cx="246888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4C06C7F0-2A86-F36A-9130-95C73BB3E9D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262235" y="2405840"/>
            <a:ext cx="246888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FA274D5C-6C3F-9F8F-F0B6-81EAEF61981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89951" y="2405840"/>
            <a:ext cx="246888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70427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F9E0953-F4D7-9DB4-2FA6-4E62FC66DD36}"/>
              </a:ext>
            </a:extLst>
          </p:cNvPr>
          <p:cNvGrpSpPr/>
          <p:nvPr userDrawn="1"/>
        </p:nvGrpSpPr>
        <p:grpSpPr>
          <a:xfrm>
            <a:off x="0" y="2299223"/>
            <a:ext cx="12192000" cy="3714007"/>
            <a:chOff x="0" y="0"/>
            <a:chExt cx="12192000" cy="685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AE7FDD8-AF27-3AB0-E584-89608EB59066}"/>
                </a:ext>
              </a:extLst>
            </p:cNvPr>
            <p:cNvSpPr/>
            <p:nvPr userDrawn="1"/>
          </p:nvSpPr>
          <p:spPr>
            <a:xfrm>
              <a:off x="0" y="0"/>
              <a:ext cx="3048000" cy="6858000"/>
            </a:xfrm>
            <a:prstGeom prst="rect">
              <a:avLst/>
            </a:prstGeom>
            <a:solidFill>
              <a:srgbClr val="003E51">
                <a:alpha val="2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L="0" marR="0" lvl="0" indent="0" defTabSz="914400" eaLnBrk="1" fontAlgn="auto" latinLnBrk="0" hangingPunct="1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lang="en-US" sz="1400" kern="0"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F1EC25D-FF36-B7E6-77F5-2B87588AB340}"/>
                </a:ext>
              </a:extLst>
            </p:cNvPr>
            <p:cNvSpPr/>
            <p:nvPr userDrawn="1"/>
          </p:nvSpPr>
          <p:spPr>
            <a:xfrm>
              <a:off x="3048000" y="0"/>
              <a:ext cx="3048000" cy="6858000"/>
            </a:xfrm>
            <a:prstGeom prst="rect">
              <a:avLst/>
            </a:prstGeom>
            <a:solidFill>
              <a:srgbClr val="003E51">
                <a:alpha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L="0" marR="0" lvl="0" indent="0" defTabSz="914400" eaLnBrk="1" fontAlgn="auto" latinLnBrk="0" hangingPunct="1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3304374-03D1-98F8-C095-4D8895681A87}"/>
                </a:ext>
              </a:extLst>
            </p:cNvPr>
            <p:cNvSpPr/>
            <p:nvPr userDrawn="1"/>
          </p:nvSpPr>
          <p:spPr>
            <a:xfrm>
              <a:off x="6096000" y="0"/>
              <a:ext cx="3048000" cy="6858000"/>
            </a:xfrm>
            <a:prstGeom prst="rect">
              <a:avLst/>
            </a:prstGeom>
            <a:solidFill>
              <a:srgbClr val="003E51">
                <a:alpha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L="0" indent="0">
                <a:spcBef>
                  <a:spcPts val="600"/>
                </a:spcBef>
                <a:buFont typeface="Arial" panose="020B0604020202020204" pitchFamily="34" charset="0"/>
                <a:buNone/>
                <a:defRPr/>
              </a:pPr>
              <a:endParaRPr lang="en-US" sz="1400" b="1" kern="0">
                <a:solidFill>
                  <a:srgbClr val="FFFFFF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57A92E4-814E-EA8B-512D-C6208E4F7CB5}"/>
                </a:ext>
              </a:extLst>
            </p:cNvPr>
            <p:cNvSpPr/>
            <p:nvPr userDrawn="1"/>
          </p:nvSpPr>
          <p:spPr>
            <a:xfrm>
              <a:off x="9144000" y="0"/>
              <a:ext cx="3048000" cy="6858000"/>
            </a:xfrm>
            <a:prstGeom prst="rect">
              <a:avLst/>
            </a:prstGeom>
            <a:solidFill>
              <a:srgbClr val="003E5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L="0" indent="0">
                <a:spcBef>
                  <a:spcPts val="600"/>
                </a:spcBef>
                <a:buFont typeface="Arial" panose="020B0604020202020204" pitchFamily="34" charset="0"/>
                <a:buNone/>
                <a:defRPr/>
              </a:pPr>
              <a:endParaRPr lang="en-US" sz="1400" b="1" kern="0">
                <a:solidFill>
                  <a:srgbClr val="FFFFFF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2A3251A-6046-8F8D-36A1-319E9936C8F8}"/>
              </a:ext>
            </a:extLst>
          </p:cNvPr>
          <p:cNvGrpSpPr/>
          <p:nvPr userDrawn="1"/>
        </p:nvGrpSpPr>
        <p:grpSpPr>
          <a:xfrm>
            <a:off x="0" y="1143000"/>
            <a:ext cx="12192000" cy="1107997"/>
            <a:chOff x="0" y="0"/>
            <a:chExt cx="12192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A5439F6-F97E-BB00-ADE0-2988F64D50E8}"/>
                </a:ext>
              </a:extLst>
            </p:cNvPr>
            <p:cNvSpPr/>
            <p:nvPr userDrawn="1"/>
          </p:nvSpPr>
          <p:spPr>
            <a:xfrm>
              <a:off x="0" y="0"/>
              <a:ext cx="3048000" cy="6858000"/>
            </a:xfrm>
            <a:prstGeom prst="rect">
              <a:avLst/>
            </a:prstGeom>
            <a:solidFill>
              <a:srgbClr val="003E51">
                <a:alpha val="2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L="0" marR="0" lvl="0" indent="0" defTabSz="914400" eaLnBrk="1" fontAlgn="auto" latinLnBrk="0" hangingPunct="1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lang="en-US" sz="1400" kern="0"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96403E2-6F47-080E-B425-701CBD9D91DE}"/>
                </a:ext>
              </a:extLst>
            </p:cNvPr>
            <p:cNvSpPr/>
            <p:nvPr userDrawn="1"/>
          </p:nvSpPr>
          <p:spPr>
            <a:xfrm>
              <a:off x="3048000" y="0"/>
              <a:ext cx="3048000" cy="6858000"/>
            </a:xfrm>
            <a:prstGeom prst="rect">
              <a:avLst/>
            </a:prstGeom>
            <a:solidFill>
              <a:srgbClr val="003E51">
                <a:alpha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L="0" marR="0" lvl="0" indent="0" defTabSz="914400" eaLnBrk="1" fontAlgn="auto" latinLnBrk="0" hangingPunct="1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C6C6072-55FC-B22C-D168-363AF918E555}"/>
                </a:ext>
              </a:extLst>
            </p:cNvPr>
            <p:cNvSpPr/>
            <p:nvPr userDrawn="1"/>
          </p:nvSpPr>
          <p:spPr>
            <a:xfrm>
              <a:off x="6096000" y="0"/>
              <a:ext cx="3048000" cy="6858000"/>
            </a:xfrm>
            <a:prstGeom prst="rect">
              <a:avLst/>
            </a:prstGeom>
            <a:solidFill>
              <a:srgbClr val="003E51">
                <a:alpha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L="0" indent="0">
                <a:spcBef>
                  <a:spcPts val="600"/>
                </a:spcBef>
                <a:buFont typeface="Arial" panose="020B0604020202020204" pitchFamily="34" charset="0"/>
                <a:buNone/>
                <a:defRPr/>
              </a:pPr>
              <a:endParaRPr lang="en-US" sz="1400" b="1" kern="0">
                <a:solidFill>
                  <a:srgbClr val="FFFFFF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9F11BE1-22A3-BEC2-5E2A-72C18E4736A1}"/>
                </a:ext>
              </a:extLst>
            </p:cNvPr>
            <p:cNvSpPr/>
            <p:nvPr userDrawn="1"/>
          </p:nvSpPr>
          <p:spPr>
            <a:xfrm>
              <a:off x="9144000" y="0"/>
              <a:ext cx="3048000" cy="6858000"/>
            </a:xfrm>
            <a:prstGeom prst="rect">
              <a:avLst/>
            </a:prstGeom>
            <a:solidFill>
              <a:srgbClr val="003E5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L="0" indent="0">
                <a:spcBef>
                  <a:spcPts val="600"/>
                </a:spcBef>
                <a:buFont typeface="Arial" panose="020B0604020202020204" pitchFamily="34" charset="0"/>
                <a:buNone/>
                <a:defRPr/>
              </a:pPr>
              <a:endParaRPr lang="en-US" sz="1400" b="1" kern="0">
                <a:solidFill>
                  <a:srgbClr val="FFFFFF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</p:grpSp>
      <p:sp>
        <p:nvSpPr>
          <p:cNvPr id="3" name="Slide Number Placeholder 19">
            <a:extLst>
              <a:ext uri="{FF2B5EF4-FFF2-40B4-BE49-F238E27FC236}">
                <a16:creationId xmlns:a16="http://schemas.microsoft.com/office/drawing/2014/main" id="{F0B14C5E-AD37-2289-53C4-62CB733A30FC}"/>
              </a:ext>
            </a:extLst>
          </p:cNvPr>
          <p:cNvSpPr>
            <a:spLocks noGrp="1"/>
          </p:cNvSpPr>
          <p:nvPr userDrawn="1">
            <p:ph type="sldNum" sz="quarter" idx="27"/>
            <p:custDataLst>
              <p:tags r:id="rId1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6929F36-824B-4E24-D064-B284EAB0A3A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89560" y="1143000"/>
            <a:ext cx="2468880" cy="1107996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7200"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S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B2CC5B7E-50E3-3735-DE40-D5CA2F2F9923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23073" y="2650878"/>
            <a:ext cx="228600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8B53E9D5-A8C4-5E24-B66F-F542E4701DB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37560" y="1143000"/>
            <a:ext cx="2468880" cy="1107996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7200">
                <a:solidFill>
                  <a:schemeClr val="bg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W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BAD4B749-4068-2BA1-AE34-EB38E26F60C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85559" y="1143000"/>
            <a:ext cx="2468880" cy="1107996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7200">
                <a:solidFill>
                  <a:schemeClr val="bg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O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982997ED-224B-B197-D628-1D5B6293D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433560" y="1143000"/>
            <a:ext cx="2468880" cy="1107996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7200">
                <a:solidFill>
                  <a:schemeClr val="bg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T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E65366CC-E279-E480-5EB7-AE1A1230C38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337560" y="2650878"/>
            <a:ext cx="246888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03A154EE-BD41-1805-74FE-5560A925EC2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385560" y="2650878"/>
            <a:ext cx="246888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47B114B4-C513-61A9-F29D-4CD0EA45116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33560" y="2650878"/>
            <a:ext cx="228600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CEA24DC-D682-934B-E505-29E88389178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15938" y="415925"/>
            <a:ext cx="11161711" cy="517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41542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AE7FDD8-AF27-3AB0-E584-89608EB59066}"/>
              </a:ext>
            </a:extLst>
          </p:cNvPr>
          <p:cNvSpPr/>
          <p:nvPr userDrawn="1"/>
        </p:nvSpPr>
        <p:spPr>
          <a:xfrm>
            <a:off x="0" y="0"/>
            <a:ext cx="3048000" cy="6858000"/>
          </a:xfrm>
          <a:prstGeom prst="rect">
            <a:avLst/>
          </a:prstGeom>
          <a:solidFill>
            <a:srgbClr val="003E51">
              <a:alpha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marR="0" lvl="0" indent="0" defTabSz="91440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kern="0"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1EC25D-FF36-B7E6-77F5-2B87588AB340}"/>
              </a:ext>
            </a:extLst>
          </p:cNvPr>
          <p:cNvSpPr/>
          <p:nvPr userDrawn="1"/>
        </p:nvSpPr>
        <p:spPr>
          <a:xfrm>
            <a:off x="3048000" y="0"/>
            <a:ext cx="3048000" cy="6858000"/>
          </a:xfrm>
          <a:prstGeom prst="rect">
            <a:avLst/>
          </a:prstGeom>
          <a:solidFill>
            <a:srgbClr val="003E51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marR="0" lvl="0" indent="0" defTabSz="91440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3304374-03D1-98F8-C095-4D8895681A87}"/>
              </a:ext>
            </a:extLst>
          </p:cNvPr>
          <p:cNvSpPr/>
          <p:nvPr userDrawn="1"/>
        </p:nvSpPr>
        <p:spPr>
          <a:xfrm>
            <a:off x="6096000" y="0"/>
            <a:ext cx="3048000" cy="6858000"/>
          </a:xfrm>
          <a:prstGeom prst="rect">
            <a:avLst/>
          </a:prstGeom>
          <a:solidFill>
            <a:srgbClr val="003E51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endParaRPr lang="en-US" sz="1400" b="1" kern="0">
              <a:solidFill>
                <a:srgbClr val="FFFFFF"/>
              </a:solidFill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57A92E4-814E-EA8B-512D-C6208E4F7CB5}"/>
              </a:ext>
            </a:extLst>
          </p:cNvPr>
          <p:cNvSpPr/>
          <p:nvPr userDrawn="1"/>
        </p:nvSpPr>
        <p:spPr>
          <a:xfrm>
            <a:off x="9144000" y="0"/>
            <a:ext cx="3048000" cy="6858000"/>
          </a:xfrm>
          <a:prstGeom prst="rect">
            <a:avLst/>
          </a:prstGeom>
          <a:solidFill>
            <a:srgbClr val="003E5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endParaRPr lang="en-US" sz="1400" b="1" kern="0">
              <a:solidFill>
                <a:srgbClr val="FFFFFF"/>
              </a:solidFill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3" name="Slide Number Placeholder 19">
            <a:extLst>
              <a:ext uri="{FF2B5EF4-FFF2-40B4-BE49-F238E27FC236}">
                <a16:creationId xmlns:a16="http://schemas.microsoft.com/office/drawing/2014/main" id="{F0B14C5E-AD37-2289-53C4-62CB733A30FC}"/>
              </a:ext>
            </a:extLst>
          </p:cNvPr>
          <p:cNvSpPr>
            <a:spLocks noGrp="1"/>
          </p:cNvSpPr>
          <p:nvPr userDrawn="1">
            <p:ph type="sldNum" sz="quarter" idx="27"/>
            <p:custDataLst>
              <p:tags r:id="rId1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6929F36-824B-4E24-D064-B284EAB0A3A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89560" y="293786"/>
            <a:ext cx="2468880" cy="1107996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7200"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S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B2CC5B7E-50E3-3735-DE40-D5CA2F2F9923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23073" y="2029700"/>
            <a:ext cx="228600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8B53E9D5-A8C4-5E24-B66F-F542E4701DB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37560" y="293786"/>
            <a:ext cx="2468880" cy="1107996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7200">
                <a:solidFill>
                  <a:schemeClr val="bg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W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BAD4B749-4068-2BA1-AE34-EB38E26F60C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85559" y="293786"/>
            <a:ext cx="2468880" cy="1107996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7200">
                <a:solidFill>
                  <a:schemeClr val="bg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O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982997ED-224B-B197-D628-1D5B6293D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433560" y="293786"/>
            <a:ext cx="2468880" cy="1107996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7200">
                <a:solidFill>
                  <a:schemeClr val="bg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T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E65366CC-E279-E480-5EB7-AE1A1230C38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337560" y="2029700"/>
            <a:ext cx="246888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03A154EE-BD41-1805-74FE-5560A925EC2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385560" y="2029700"/>
            <a:ext cx="246888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47B114B4-C513-61A9-F29D-4CD0EA45116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33560" y="2029700"/>
            <a:ext cx="228600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B082FE6C-9667-6588-8F8D-F03151523FAD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12401" y="6332400"/>
            <a:ext cx="699396" cy="29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0043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_4_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7BCC4-405B-755F-B5CC-7B9E91250AC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19">
            <a:extLst>
              <a:ext uri="{FF2B5EF4-FFF2-40B4-BE49-F238E27FC236}">
                <a16:creationId xmlns:a16="http://schemas.microsoft.com/office/drawing/2014/main" id="{F0B14C5E-AD37-2289-53C4-62CB733A30FC}"/>
              </a:ext>
            </a:extLst>
          </p:cNvPr>
          <p:cNvSpPr>
            <a:spLocks noGrp="1"/>
          </p:cNvSpPr>
          <p:nvPr>
            <p:ph type="sldNum" sz="quarter" idx="27"/>
            <p:custDataLst>
              <p:tags r:id="rId2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0BB3D1-13A0-E7E2-436D-74ADABC2D69D}"/>
              </a:ext>
            </a:extLst>
          </p:cNvPr>
          <p:cNvSpPr/>
          <p:nvPr userDrawn="1"/>
        </p:nvSpPr>
        <p:spPr>
          <a:xfrm>
            <a:off x="533400" y="1431664"/>
            <a:ext cx="2718828" cy="705796"/>
          </a:xfrm>
          <a:prstGeom prst="rect">
            <a:avLst/>
          </a:prstGeom>
          <a:solidFill>
            <a:srgbClr val="BCDEE6">
              <a:alpha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9687522-6172-3A94-2B07-48B3654D8718}"/>
              </a:ext>
            </a:extLst>
          </p:cNvPr>
          <p:cNvSpPr/>
          <p:nvPr userDrawn="1"/>
        </p:nvSpPr>
        <p:spPr>
          <a:xfrm>
            <a:off x="1601214" y="1126138"/>
            <a:ext cx="583200" cy="583200"/>
          </a:xfrm>
          <a:prstGeom prst="ellipse">
            <a:avLst/>
          </a:prstGeom>
          <a:solidFill>
            <a:srgbClr val="EEF7F9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31E29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E7FDD8-AF27-3AB0-E584-89608EB59066}"/>
              </a:ext>
            </a:extLst>
          </p:cNvPr>
          <p:cNvSpPr/>
          <p:nvPr userDrawn="1"/>
        </p:nvSpPr>
        <p:spPr>
          <a:xfrm>
            <a:off x="533400" y="2217920"/>
            <a:ext cx="2718828" cy="3534289"/>
          </a:xfrm>
          <a:prstGeom prst="rect">
            <a:avLst/>
          </a:prstGeom>
          <a:solidFill>
            <a:srgbClr val="BCDEE6">
              <a:alpha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marR="0" lvl="0" indent="0" defTabSz="91440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kern="0"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9F27E0-B2A1-820B-8FC4-C5115BA1D7AC}"/>
              </a:ext>
            </a:extLst>
          </p:cNvPr>
          <p:cNvSpPr/>
          <p:nvPr userDrawn="1"/>
        </p:nvSpPr>
        <p:spPr>
          <a:xfrm>
            <a:off x="3334883" y="1431664"/>
            <a:ext cx="2718828" cy="705796"/>
          </a:xfrm>
          <a:prstGeom prst="rect">
            <a:avLst/>
          </a:prstGeom>
          <a:solidFill>
            <a:srgbClr val="BCDEE6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2AB9C86-F54C-B01A-C510-99C52FAD584E}"/>
              </a:ext>
            </a:extLst>
          </p:cNvPr>
          <p:cNvSpPr/>
          <p:nvPr userDrawn="1"/>
        </p:nvSpPr>
        <p:spPr>
          <a:xfrm>
            <a:off x="4402697" y="1130157"/>
            <a:ext cx="583200" cy="583200"/>
          </a:xfrm>
          <a:prstGeom prst="ellipse">
            <a:avLst/>
          </a:prstGeom>
          <a:solidFill>
            <a:srgbClr val="DDEEF2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1EC25D-FF36-B7E6-77F5-2B87588AB340}"/>
              </a:ext>
            </a:extLst>
          </p:cNvPr>
          <p:cNvSpPr/>
          <p:nvPr userDrawn="1"/>
        </p:nvSpPr>
        <p:spPr>
          <a:xfrm>
            <a:off x="3334883" y="2217920"/>
            <a:ext cx="2718828" cy="3534289"/>
          </a:xfrm>
          <a:prstGeom prst="rect">
            <a:avLst/>
          </a:prstGeom>
          <a:solidFill>
            <a:srgbClr val="BCDEE6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marR="0" lvl="0" indent="0" defTabSz="91440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29CEE0-7ECA-81C8-9581-12A7DBF1574D}"/>
              </a:ext>
            </a:extLst>
          </p:cNvPr>
          <p:cNvSpPr/>
          <p:nvPr userDrawn="1"/>
        </p:nvSpPr>
        <p:spPr>
          <a:xfrm>
            <a:off x="6137262" y="1431664"/>
            <a:ext cx="2718828" cy="705796"/>
          </a:xfrm>
          <a:prstGeom prst="rect">
            <a:avLst/>
          </a:prstGeom>
          <a:solidFill>
            <a:srgbClr val="BCDEE6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b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endParaRPr lang="en-US" sz="200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F773645-12E7-D8D5-BD3B-87CF0B548BEA}"/>
              </a:ext>
            </a:extLst>
          </p:cNvPr>
          <p:cNvSpPr/>
          <p:nvPr userDrawn="1"/>
        </p:nvSpPr>
        <p:spPr>
          <a:xfrm>
            <a:off x="7205075" y="1130157"/>
            <a:ext cx="583200" cy="584694"/>
          </a:xfrm>
          <a:prstGeom prst="ellipse">
            <a:avLst/>
          </a:prstGeom>
          <a:solidFill>
            <a:srgbClr val="CDE6EC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3304374-03D1-98F8-C095-4D8895681A87}"/>
              </a:ext>
            </a:extLst>
          </p:cNvPr>
          <p:cNvSpPr/>
          <p:nvPr userDrawn="1"/>
        </p:nvSpPr>
        <p:spPr>
          <a:xfrm>
            <a:off x="6137262" y="2217920"/>
            <a:ext cx="2718828" cy="3534289"/>
          </a:xfrm>
          <a:prstGeom prst="rect">
            <a:avLst/>
          </a:prstGeom>
          <a:solidFill>
            <a:srgbClr val="BCDEE6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endParaRPr lang="en-US" sz="1400" b="1" kern="0">
              <a:solidFill>
                <a:srgbClr val="FFFFFF"/>
              </a:solidFill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A22C0F-7FD2-8CA2-F2B9-9A14303B4624}"/>
              </a:ext>
            </a:extLst>
          </p:cNvPr>
          <p:cNvSpPr/>
          <p:nvPr userDrawn="1"/>
        </p:nvSpPr>
        <p:spPr>
          <a:xfrm>
            <a:off x="8964976" y="1431664"/>
            <a:ext cx="2718828" cy="705796"/>
          </a:xfrm>
          <a:prstGeom prst="rect">
            <a:avLst/>
          </a:prstGeom>
          <a:solidFill>
            <a:srgbClr val="BCDEE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F7B0CC0-BA8E-A78F-E8FE-B21BA126CCBA}"/>
              </a:ext>
            </a:extLst>
          </p:cNvPr>
          <p:cNvSpPr/>
          <p:nvPr userDrawn="1"/>
        </p:nvSpPr>
        <p:spPr>
          <a:xfrm>
            <a:off x="10032791" y="1164794"/>
            <a:ext cx="583200" cy="584694"/>
          </a:xfrm>
          <a:prstGeom prst="ellipse">
            <a:avLst/>
          </a:prstGeom>
          <a:solidFill>
            <a:srgbClr val="BCDEE6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4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57A92E4-814E-EA8B-512D-C6208E4F7CB5}"/>
              </a:ext>
            </a:extLst>
          </p:cNvPr>
          <p:cNvSpPr/>
          <p:nvPr userDrawn="1"/>
        </p:nvSpPr>
        <p:spPr>
          <a:xfrm>
            <a:off x="8964977" y="2217920"/>
            <a:ext cx="2718828" cy="3534289"/>
          </a:xfrm>
          <a:prstGeom prst="rect">
            <a:avLst/>
          </a:prstGeom>
          <a:solidFill>
            <a:srgbClr val="BCDEE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endParaRPr lang="en-US" sz="1400" b="1" kern="0">
              <a:solidFill>
                <a:srgbClr val="FFFFFF"/>
              </a:solidFill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6929F36-824B-4E24-D064-B284EAB0A3A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8374" y="1790904"/>
            <a:ext cx="2468880" cy="553998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1800"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AEB756A5-E673-FD74-8780-A12E7368945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59857" y="1790904"/>
            <a:ext cx="2468880" cy="553998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1800">
                <a:solidFill>
                  <a:schemeClr val="tx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5FB667C5-C77E-7CA9-C44A-C726F6961A5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262235" y="1790904"/>
            <a:ext cx="2468880" cy="553998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1800">
                <a:solidFill>
                  <a:schemeClr val="tx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F2D7363E-E901-87FD-EF1E-E7DAE4AE0A8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89951" y="1790904"/>
            <a:ext cx="2468880" cy="553998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1800">
                <a:solidFill>
                  <a:schemeClr val="tx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B2CC5B7E-50E3-3735-DE40-D5CA2F2F992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58374" y="2388978"/>
            <a:ext cx="246888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864AE9D-E8BC-2731-14EC-05486E48F98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59857" y="2388978"/>
            <a:ext cx="246888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4C06C7F0-2A86-F36A-9130-95C73BB3E9D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262235" y="2388978"/>
            <a:ext cx="246888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FA274D5C-6C3F-9F8F-F0B6-81EAEF61981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89951" y="2388978"/>
            <a:ext cx="246888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92944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_3_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7BCC4-405B-755F-B5CC-7B9E91250AC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19">
            <a:extLst>
              <a:ext uri="{FF2B5EF4-FFF2-40B4-BE49-F238E27FC236}">
                <a16:creationId xmlns:a16="http://schemas.microsoft.com/office/drawing/2014/main" id="{F0B14C5E-AD37-2289-53C4-62CB733A30FC}"/>
              </a:ext>
            </a:extLst>
          </p:cNvPr>
          <p:cNvSpPr>
            <a:spLocks noGrp="1"/>
          </p:cNvSpPr>
          <p:nvPr>
            <p:ph type="sldNum" sz="quarter" idx="27"/>
            <p:custDataLst>
              <p:tags r:id="rId2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0BB3D1-13A0-E7E2-436D-74ADABC2D69D}"/>
              </a:ext>
            </a:extLst>
          </p:cNvPr>
          <p:cNvSpPr/>
          <p:nvPr userDrawn="1"/>
        </p:nvSpPr>
        <p:spPr>
          <a:xfrm>
            <a:off x="533400" y="1448526"/>
            <a:ext cx="3544979" cy="705796"/>
          </a:xfrm>
          <a:prstGeom prst="rect">
            <a:avLst/>
          </a:prstGeom>
          <a:solidFill>
            <a:srgbClr val="BCDEE6">
              <a:alpha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R="0" lvl="0" indent="0" fontAlgn="auto">
              <a:spcBef>
                <a:spcPts val="600"/>
              </a:spcBef>
              <a:buClrTx/>
              <a:buSzTx/>
              <a:buFont typeface="Arial" panose="020B0604020202020204" pitchFamily="34" charset="0"/>
              <a:buNone/>
              <a:tabLst/>
            </a:pPr>
            <a:endParaRPr lang="en-US" sz="1400" kern="0" noProof="0"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9687522-6172-3A94-2B07-48B3654D8718}"/>
              </a:ext>
            </a:extLst>
          </p:cNvPr>
          <p:cNvSpPr/>
          <p:nvPr userDrawn="1"/>
        </p:nvSpPr>
        <p:spPr>
          <a:xfrm>
            <a:off x="2014289" y="1143000"/>
            <a:ext cx="583200" cy="583200"/>
          </a:xfrm>
          <a:prstGeom prst="ellipse">
            <a:avLst/>
          </a:prstGeom>
          <a:solidFill>
            <a:srgbClr val="EEF7F9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31E29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E7FDD8-AF27-3AB0-E584-89608EB59066}"/>
              </a:ext>
            </a:extLst>
          </p:cNvPr>
          <p:cNvSpPr/>
          <p:nvPr userDrawn="1"/>
        </p:nvSpPr>
        <p:spPr>
          <a:xfrm>
            <a:off x="533400" y="2234782"/>
            <a:ext cx="3544979" cy="3534289"/>
          </a:xfrm>
          <a:prstGeom prst="rect">
            <a:avLst/>
          </a:prstGeom>
          <a:solidFill>
            <a:srgbClr val="BCDEE6">
              <a:alpha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marR="0" lvl="0" indent="0" defTabSz="91440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kern="0"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9F27E0-B2A1-820B-8FC4-C5115BA1D7AC}"/>
              </a:ext>
            </a:extLst>
          </p:cNvPr>
          <p:cNvSpPr/>
          <p:nvPr userDrawn="1"/>
        </p:nvSpPr>
        <p:spPr>
          <a:xfrm>
            <a:off x="4323512" y="1448526"/>
            <a:ext cx="3544979" cy="705796"/>
          </a:xfrm>
          <a:prstGeom prst="rect">
            <a:avLst/>
          </a:prstGeom>
          <a:solidFill>
            <a:srgbClr val="BCDEE6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R="0" lvl="0" indent="0" fontAlgn="auto">
              <a:spcBef>
                <a:spcPts val="600"/>
              </a:spcBef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2AB9C86-F54C-B01A-C510-99C52FAD584E}"/>
              </a:ext>
            </a:extLst>
          </p:cNvPr>
          <p:cNvSpPr/>
          <p:nvPr userDrawn="1"/>
        </p:nvSpPr>
        <p:spPr>
          <a:xfrm>
            <a:off x="5804401" y="1147019"/>
            <a:ext cx="583200" cy="583200"/>
          </a:xfrm>
          <a:prstGeom prst="ellipse">
            <a:avLst/>
          </a:prstGeom>
          <a:solidFill>
            <a:srgbClr val="DDEEF2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1EC25D-FF36-B7E6-77F5-2B87588AB340}"/>
              </a:ext>
            </a:extLst>
          </p:cNvPr>
          <p:cNvSpPr/>
          <p:nvPr userDrawn="1"/>
        </p:nvSpPr>
        <p:spPr>
          <a:xfrm>
            <a:off x="4323512" y="2234782"/>
            <a:ext cx="3544979" cy="3534289"/>
          </a:xfrm>
          <a:prstGeom prst="rect">
            <a:avLst/>
          </a:prstGeom>
          <a:solidFill>
            <a:srgbClr val="BCDEE6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marR="0" lvl="0" indent="0" defTabSz="91440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29CEE0-7ECA-81C8-9581-12A7DBF1574D}"/>
              </a:ext>
            </a:extLst>
          </p:cNvPr>
          <p:cNvSpPr/>
          <p:nvPr userDrawn="1"/>
        </p:nvSpPr>
        <p:spPr>
          <a:xfrm>
            <a:off x="8132670" y="1448526"/>
            <a:ext cx="3544979" cy="705796"/>
          </a:xfrm>
          <a:prstGeom prst="rect">
            <a:avLst/>
          </a:prstGeom>
          <a:solidFill>
            <a:srgbClr val="BCDEE6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lvl="0" indent="0">
              <a:spcBef>
                <a:spcPts val="600"/>
              </a:spcBef>
              <a:buFont typeface="Arial" panose="020B0604020202020204" pitchFamily="34" charset="0"/>
              <a:buNone/>
            </a:pPr>
            <a:endParaRPr lang="en-US" sz="1400" b="1" kern="0">
              <a:solidFill>
                <a:srgbClr val="FFFFFF"/>
              </a:solidFill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F773645-12E7-D8D5-BD3B-87CF0B548BEA}"/>
              </a:ext>
            </a:extLst>
          </p:cNvPr>
          <p:cNvSpPr/>
          <p:nvPr userDrawn="1"/>
        </p:nvSpPr>
        <p:spPr>
          <a:xfrm>
            <a:off x="9613560" y="1147019"/>
            <a:ext cx="583200" cy="584694"/>
          </a:xfrm>
          <a:prstGeom prst="ellipse">
            <a:avLst/>
          </a:prstGeom>
          <a:solidFill>
            <a:srgbClr val="CDE6EC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3304374-03D1-98F8-C095-4D8895681A87}"/>
              </a:ext>
            </a:extLst>
          </p:cNvPr>
          <p:cNvSpPr/>
          <p:nvPr userDrawn="1"/>
        </p:nvSpPr>
        <p:spPr>
          <a:xfrm>
            <a:off x="8132670" y="2234782"/>
            <a:ext cx="3544979" cy="3534289"/>
          </a:xfrm>
          <a:prstGeom prst="rect">
            <a:avLst/>
          </a:prstGeom>
          <a:solidFill>
            <a:srgbClr val="BCDEE6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endParaRPr lang="en-US" sz="1400" b="1" kern="0">
              <a:solidFill>
                <a:srgbClr val="FFFFFF"/>
              </a:solidFill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6929F36-824B-4E24-D064-B284EAB0A3A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05690" y="1807766"/>
            <a:ext cx="3200400" cy="276999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1800">
                <a:solidFill>
                  <a:schemeClr val="tx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AEB756A5-E673-FD74-8780-A12E7368945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95801" y="1807766"/>
            <a:ext cx="3200400" cy="276999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1800">
                <a:solidFill>
                  <a:schemeClr val="tx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5FB667C5-C77E-7CA9-C44A-C726F6961A5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304960" y="1807766"/>
            <a:ext cx="3200400" cy="276999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1800">
                <a:solidFill>
                  <a:schemeClr val="tx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B2CC5B7E-50E3-3735-DE40-D5CA2F2F992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05690" y="2405840"/>
            <a:ext cx="320040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864AE9D-E8BC-2731-14EC-05486E48F98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95801" y="2405840"/>
            <a:ext cx="320040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4C06C7F0-2A86-F36A-9130-95C73BB3E9D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304960" y="2405840"/>
            <a:ext cx="320040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67454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_3_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7BCC4-405B-755F-B5CC-7B9E91250AC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19">
            <a:extLst>
              <a:ext uri="{FF2B5EF4-FFF2-40B4-BE49-F238E27FC236}">
                <a16:creationId xmlns:a16="http://schemas.microsoft.com/office/drawing/2014/main" id="{F0B14C5E-AD37-2289-53C4-62CB733A30FC}"/>
              </a:ext>
            </a:extLst>
          </p:cNvPr>
          <p:cNvSpPr>
            <a:spLocks noGrp="1"/>
          </p:cNvSpPr>
          <p:nvPr>
            <p:ph type="sldNum" sz="quarter" idx="27"/>
            <p:custDataLst>
              <p:tags r:id="rId2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0BB3D1-13A0-E7E2-436D-74ADABC2D69D}"/>
              </a:ext>
            </a:extLst>
          </p:cNvPr>
          <p:cNvSpPr/>
          <p:nvPr userDrawn="1"/>
        </p:nvSpPr>
        <p:spPr>
          <a:xfrm>
            <a:off x="533400" y="1442430"/>
            <a:ext cx="3544979" cy="705796"/>
          </a:xfrm>
          <a:prstGeom prst="rect">
            <a:avLst/>
          </a:prstGeom>
          <a:solidFill>
            <a:srgbClr val="003E51">
              <a:alpha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R="0" lvl="0" indent="0" fontAlgn="auto">
              <a:spcBef>
                <a:spcPts val="600"/>
              </a:spcBef>
              <a:buClrTx/>
              <a:buSzTx/>
              <a:buFont typeface="Arial" panose="020B0604020202020204" pitchFamily="34" charset="0"/>
              <a:buNone/>
              <a:tabLst/>
            </a:pPr>
            <a:endParaRPr lang="en-US" sz="1400" kern="0" noProof="0"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9687522-6172-3A94-2B07-48B3654D8718}"/>
              </a:ext>
            </a:extLst>
          </p:cNvPr>
          <p:cNvSpPr/>
          <p:nvPr userDrawn="1"/>
        </p:nvSpPr>
        <p:spPr>
          <a:xfrm>
            <a:off x="2014289" y="1136904"/>
            <a:ext cx="583200" cy="583200"/>
          </a:xfrm>
          <a:prstGeom prst="ellipse">
            <a:avLst/>
          </a:prstGeom>
          <a:solidFill>
            <a:srgbClr val="BFCFD3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31E29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E7FDD8-AF27-3AB0-E584-89608EB59066}"/>
              </a:ext>
            </a:extLst>
          </p:cNvPr>
          <p:cNvSpPr/>
          <p:nvPr userDrawn="1"/>
        </p:nvSpPr>
        <p:spPr>
          <a:xfrm>
            <a:off x="533400" y="2228686"/>
            <a:ext cx="3544979" cy="3534289"/>
          </a:xfrm>
          <a:prstGeom prst="rect">
            <a:avLst/>
          </a:prstGeom>
          <a:solidFill>
            <a:srgbClr val="003E51">
              <a:alpha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marR="0" lvl="0" indent="0" defTabSz="91440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kern="0"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9F27E0-B2A1-820B-8FC4-C5115BA1D7AC}"/>
              </a:ext>
            </a:extLst>
          </p:cNvPr>
          <p:cNvSpPr/>
          <p:nvPr userDrawn="1"/>
        </p:nvSpPr>
        <p:spPr>
          <a:xfrm>
            <a:off x="4323512" y="1442430"/>
            <a:ext cx="3544979" cy="705796"/>
          </a:xfrm>
          <a:prstGeom prst="rect">
            <a:avLst/>
          </a:prstGeom>
          <a:solidFill>
            <a:srgbClr val="003E51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R="0" lvl="0" indent="0" fontAlgn="auto">
              <a:spcBef>
                <a:spcPts val="600"/>
              </a:spcBef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2AB9C86-F54C-B01A-C510-99C52FAD584E}"/>
              </a:ext>
            </a:extLst>
          </p:cNvPr>
          <p:cNvSpPr/>
          <p:nvPr userDrawn="1"/>
        </p:nvSpPr>
        <p:spPr>
          <a:xfrm>
            <a:off x="5804401" y="1140923"/>
            <a:ext cx="583200" cy="583200"/>
          </a:xfrm>
          <a:prstGeom prst="ellipse">
            <a:avLst/>
          </a:prstGeom>
          <a:solidFill>
            <a:srgbClr val="7F9EA8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1EC25D-FF36-B7E6-77F5-2B87588AB340}"/>
              </a:ext>
            </a:extLst>
          </p:cNvPr>
          <p:cNvSpPr/>
          <p:nvPr userDrawn="1"/>
        </p:nvSpPr>
        <p:spPr>
          <a:xfrm>
            <a:off x="4323512" y="2228686"/>
            <a:ext cx="3544979" cy="3534289"/>
          </a:xfrm>
          <a:prstGeom prst="rect">
            <a:avLst/>
          </a:prstGeom>
          <a:solidFill>
            <a:srgbClr val="003E51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marR="0" lvl="0" indent="0" defTabSz="91440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29CEE0-7ECA-81C8-9581-12A7DBF1574D}"/>
              </a:ext>
            </a:extLst>
          </p:cNvPr>
          <p:cNvSpPr/>
          <p:nvPr userDrawn="1"/>
        </p:nvSpPr>
        <p:spPr>
          <a:xfrm>
            <a:off x="8132670" y="1442430"/>
            <a:ext cx="3544979" cy="705796"/>
          </a:xfrm>
          <a:prstGeom prst="rect">
            <a:avLst/>
          </a:prstGeom>
          <a:solidFill>
            <a:srgbClr val="003E51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lvl="0" indent="0">
              <a:spcBef>
                <a:spcPts val="600"/>
              </a:spcBef>
              <a:buFont typeface="Arial" panose="020B0604020202020204" pitchFamily="34" charset="0"/>
              <a:buNone/>
            </a:pPr>
            <a:endParaRPr lang="en-US" sz="1400" b="1" kern="0">
              <a:solidFill>
                <a:srgbClr val="FFFFFF"/>
              </a:solidFill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F773645-12E7-D8D5-BD3B-87CF0B548BEA}"/>
              </a:ext>
            </a:extLst>
          </p:cNvPr>
          <p:cNvSpPr/>
          <p:nvPr userDrawn="1"/>
        </p:nvSpPr>
        <p:spPr>
          <a:xfrm>
            <a:off x="9613560" y="1140923"/>
            <a:ext cx="583200" cy="584694"/>
          </a:xfrm>
          <a:prstGeom prst="ellipse">
            <a:avLst/>
          </a:prstGeom>
          <a:solidFill>
            <a:srgbClr val="406E7D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3304374-03D1-98F8-C095-4D8895681A87}"/>
              </a:ext>
            </a:extLst>
          </p:cNvPr>
          <p:cNvSpPr/>
          <p:nvPr userDrawn="1"/>
        </p:nvSpPr>
        <p:spPr>
          <a:xfrm>
            <a:off x="8132670" y="2228686"/>
            <a:ext cx="3544979" cy="3534289"/>
          </a:xfrm>
          <a:prstGeom prst="rect">
            <a:avLst/>
          </a:prstGeom>
          <a:solidFill>
            <a:srgbClr val="003E51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45720" rtlCol="0" anchor="t"/>
          <a:lstStyle/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endParaRPr lang="en-US" sz="1400" b="1" kern="0">
              <a:solidFill>
                <a:srgbClr val="FFFFFF"/>
              </a:solidFill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6929F36-824B-4E24-D064-B284EAB0A3A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05690" y="1801670"/>
            <a:ext cx="3200400" cy="276999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1800">
                <a:solidFill>
                  <a:schemeClr val="tx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AEB756A5-E673-FD74-8780-A12E7368945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95801" y="1801670"/>
            <a:ext cx="3200400" cy="276999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1800">
                <a:solidFill>
                  <a:srgbClr val="FFFFFF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5FB667C5-C77E-7CA9-C44A-C726F6961A5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304960" y="1801670"/>
            <a:ext cx="3200400" cy="276999"/>
          </a:xfrm>
        </p:spPr>
        <p:txBody>
          <a:bodyPr>
            <a:spAutoFit/>
          </a:bodyPr>
          <a:lstStyle>
            <a:lvl1pPr algn="ctr">
              <a:spcBef>
                <a:spcPts val="0"/>
              </a:spcBef>
              <a:defRPr sz="1800">
                <a:solidFill>
                  <a:srgbClr val="FFFFFF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B2CC5B7E-50E3-3735-DE40-D5CA2F2F992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05690" y="2399744"/>
            <a:ext cx="320040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864AE9D-E8BC-2731-14EC-05486E48F98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95801" y="2399744"/>
            <a:ext cx="320040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rgbClr val="FFFFFF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4C06C7F0-2A86-F36A-9130-95C73BB3E9D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304960" y="2399744"/>
            <a:ext cx="3200400" cy="215444"/>
          </a:xfrm>
        </p:spPr>
        <p:txBody>
          <a:bodyPr>
            <a:spAutoFit/>
          </a:bodyPr>
          <a:lstStyle>
            <a:lvl1pPr marL="182880" indent="-182880" algn="l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rgbClr val="FFFFFF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9554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9EE90B7-0DF3-D316-7320-102A1616C7E4}"/>
              </a:ext>
            </a:extLst>
          </p:cNvPr>
          <p:cNvSpPr/>
          <p:nvPr userDrawn="1"/>
        </p:nvSpPr>
        <p:spPr>
          <a:xfrm>
            <a:off x="6240463" y="0"/>
            <a:ext cx="5951537" cy="6858000"/>
          </a:xfrm>
          <a:prstGeom prst="rect">
            <a:avLst/>
          </a:prstGeom>
          <a:solidFill>
            <a:srgbClr val="BCDEE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27BCC4-405B-755F-B5CC-7B9E91250AC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15939" y="415925"/>
            <a:ext cx="5435600" cy="517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19">
            <a:extLst>
              <a:ext uri="{FF2B5EF4-FFF2-40B4-BE49-F238E27FC236}">
                <a16:creationId xmlns:a16="http://schemas.microsoft.com/office/drawing/2014/main" id="{F0B14C5E-AD37-2289-53C4-62CB733A30FC}"/>
              </a:ext>
            </a:extLst>
          </p:cNvPr>
          <p:cNvSpPr>
            <a:spLocks noGrp="1"/>
          </p:cNvSpPr>
          <p:nvPr>
            <p:ph type="sldNum" sz="quarter" idx="27"/>
            <p:custDataLst>
              <p:tags r:id="rId2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73C57E-C5F2-2837-89E0-B6EE48D2798A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2134" y="6333226"/>
            <a:ext cx="656793" cy="292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7237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_1">
    <p:bg>
      <p:bgPr>
        <a:solidFill>
          <a:srgbClr val="BCDE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ridge with a body of water and a city in the background&#10;&#10;AI-generated content may be incorrect.">
            <a:extLst>
              <a:ext uri="{FF2B5EF4-FFF2-40B4-BE49-F238E27FC236}">
                <a16:creationId xmlns:a16="http://schemas.microsoft.com/office/drawing/2014/main" id="{79316C0D-5780-E34B-E32A-A0271B2F0EE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7320" t="21508" r="7320" b="649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731EC1B-4911-A0C1-1145-C378A79E57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2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63EA2D-8812-9922-9723-E04F79318BD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15939" y="1057275"/>
            <a:ext cx="11131550" cy="681037"/>
          </a:xfrm>
        </p:spPr>
        <p:txBody>
          <a:bodyPr/>
          <a:lstStyle>
            <a:lvl1pPr algn="ctr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5DFFBB4-25C3-E5A4-675A-97059F64F57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9" y="6180635"/>
            <a:ext cx="4315968" cy="443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7780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_2">
    <p:bg>
      <p:bgPr>
        <a:solidFill>
          <a:srgbClr val="003E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E713D80F-DC25-CBF0-0897-84A04D2E428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4866" r="46147" b="4531"/>
          <a:stretch/>
        </p:blipFill>
        <p:spPr>
          <a:xfrm>
            <a:off x="8087114" y="0"/>
            <a:ext cx="410488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63EA2D-8812-9922-9723-E04F79318BD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15939" y="3088482"/>
            <a:ext cx="11131550" cy="681037"/>
          </a:xfrm>
        </p:spPr>
        <p:txBody>
          <a:bodyPr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8924C1-3D62-99BD-E8D6-406B160C0600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9" y="6180635"/>
            <a:ext cx="4315968" cy="443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6982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pace">
    <p:bg>
      <p:bgPr>
        <a:solidFill>
          <a:srgbClr val="003E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238E9C2-F8B6-4C2F-E159-A7DCD486E22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9" y="6180635"/>
            <a:ext cx="4315968" cy="443373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6240462" y="0"/>
            <a:ext cx="5951535" cy="6857999"/>
          </a:xfrm>
        </p:spPr>
        <p:txBody>
          <a:bodyPr anchor="ctr" anchorCtr="0"/>
          <a:lstStyle>
            <a:lvl1pPr marL="0" indent="266700" algn="ctr">
              <a:defRPr sz="1400" i="0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icon to add picture, then send picture to the back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ABEE6BAE-F783-4E39-5646-A9CCF956C69F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515939" y="4410000"/>
            <a:ext cx="5435599" cy="85724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Source Serif Pro" panose="02040603050405020204" pitchFamily="18" charset="0"/>
                <a:ea typeface="Source Serif Pro" panose="02040603050405020204" pitchFamily="18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i="1">
                <a:solidFill>
                  <a:srgbClr val="FFFFFF"/>
                </a:solidFill>
                <a:latin typeface="Source Serif Pro" panose="02040603050405020204" pitchFamily="18" charset="0"/>
                <a:ea typeface="Source Serif Pro" panose="02040603050405020204" pitchFamily="18" charset="0"/>
                <a:cs typeface="Times New Roman" panose="02020603050405020304" pitchFamily="18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2F31F7E3-3BDF-57E6-DF94-5557DD032D79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15939" y="1018211"/>
            <a:ext cx="5435599" cy="1609724"/>
          </a:xfrm>
        </p:spPr>
        <p:txBody>
          <a:bodyPr anchor="b" anchorCtr="0"/>
          <a:lstStyle>
            <a:lvl1pPr>
              <a:defRPr sz="54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F4AA3E5A-F251-189D-7DF9-EFF522DD60F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515939" y="3117850"/>
            <a:ext cx="5435599" cy="607559"/>
          </a:xfrm>
        </p:spPr>
        <p:txBody>
          <a:bodyPr anchor="t" anchorCtr="0"/>
          <a:lstStyle>
            <a:lvl1pPr>
              <a:defRPr sz="1800" b="0" i="0">
                <a:solidFill>
                  <a:srgbClr val="FFFFFF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>
              <a:defRPr sz="2000" b="1" i="0">
                <a:latin typeface="+mj-lt"/>
              </a:defRPr>
            </a:lvl2pPr>
            <a:lvl3pPr>
              <a:defRPr sz="2000" b="1" i="0">
                <a:latin typeface="+mj-lt"/>
              </a:defRPr>
            </a:lvl3pPr>
            <a:lvl4pPr>
              <a:defRPr sz="2000" b="1" i="0">
                <a:latin typeface="+mj-lt"/>
              </a:defRPr>
            </a:lvl4pPr>
            <a:lvl5pPr>
              <a:defRPr sz="2000" b="1" i="0">
                <a:latin typeface="+mj-lt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88CB718E-B61A-F2D1-3C82-4A4443A4EEAB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979561" y="6339451"/>
            <a:ext cx="3698089" cy="1238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©2025 Jones Lang LaSalle I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812150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3128150-5D82-D3E7-B19E-3244542D86F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32B166-69C3-654A-AB94-B1FCAD49FDB5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515939" y="2576514"/>
            <a:ext cx="5435600" cy="2292349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36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Bef>
                <a:spcPts val="0"/>
              </a:spcBef>
              <a:defRPr sz="36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64CE7A8-898E-EB53-BC5B-94BA4EE81D07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40462" y="2576513"/>
            <a:ext cx="5437187" cy="2292349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3600" b="1">
                <a:solidFill>
                  <a:srgbClr val="E30613"/>
                </a:solidFill>
              </a:defRPr>
            </a:lvl1pPr>
            <a:lvl2pPr algn="ctr">
              <a:lnSpc>
                <a:spcPct val="100000"/>
              </a:lnSpc>
              <a:spcBef>
                <a:spcPts val="0"/>
              </a:spcBef>
              <a:defRPr sz="3600" b="1">
                <a:solidFill>
                  <a:srgbClr val="E30613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Slide Number Placeholder 6">
            <a:extLst>
              <a:ext uri="{FF2B5EF4-FFF2-40B4-BE49-F238E27FC236}">
                <a16:creationId xmlns:a16="http://schemas.microsoft.com/office/drawing/2014/main" id="{9214F84F-AA67-EB17-2498-CE8E23EACBE1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01D976-1952-4225-8B5D-FB6C01AF759E}" type="slidenum">
              <a:rPr lang="en-US" smtClean="0"/>
              <a:pPr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9285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cean">
    <p:bg>
      <p:bgPr>
        <a:solidFill>
          <a:srgbClr val="BCDE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  <p:custDataLst>
              <p:tags r:id="rId1"/>
            </p:custDataLst>
          </p:nvPr>
        </p:nvSpPr>
        <p:spPr>
          <a:xfrm>
            <a:off x="6240462" y="0"/>
            <a:ext cx="5951535" cy="6857999"/>
          </a:xfrm>
        </p:spPr>
        <p:txBody>
          <a:bodyPr anchor="ctr" anchorCtr="0"/>
          <a:lstStyle>
            <a:lvl1pPr marL="0" indent="266700" algn="ctr">
              <a:defRPr sz="1400" i="0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icon to add picture, then send picture to the back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ABEE6BAE-F783-4E39-5646-A9CCF956C69F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>
          <a:xfrm>
            <a:off x="515939" y="4410000"/>
            <a:ext cx="5435599" cy="85724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rgbClr val="131E29"/>
                </a:solidFill>
                <a:latin typeface="Source Serif Pro" panose="02040603050405020204" pitchFamily="18" charset="0"/>
                <a:ea typeface="Source Serif Pro" panose="02040603050405020204" pitchFamily="18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i="1">
                <a:solidFill>
                  <a:srgbClr val="131E29"/>
                </a:solidFill>
                <a:latin typeface="Source Serif Pro" panose="02040603050405020204" pitchFamily="18" charset="0"/>
                <a:ea typeface="Source Serif Pro" panose="02040603050405020204" pitchFamily="18" charset="0"/>
                <a:cs typeface="Times New Roman" panose="02020603050405020304" pitchFamily="18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2F31F7E3-3BDF-57E6-DF94-5557DD032D79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15939" y="1018211"/>
            <a:ext cx="5435599" cy="1609724"/>
          </a:xfrm>
        </p:spPr>
        <p:txBody>
          <a:bodyPr anchor="b" anchorCtr="0"/>
          <a:lstStyle>
            <a:lvl1pPr>
              <a:defRPr sz="5400" b="0">
                <a:solidFill>
                  <a:srgbClr val="131E2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F4AA3E5A-F251-189D-7DF9-EFF522DD60F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515939" y="3117850"/>
            <a:ext cx="5435599" cy="607559"/>
          </a:xfrm>
        </p:spPr>
        <p:txBody>
          <a:bodyPr anchor="t" anchorCtr="0"/>
          <a:lstStyle>
            <a:lvl1pPr>
              <a:defRPr sz="1800" b="0" i="0">
                <a:solidFill>
                  <a:srgbClr val="131E29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>
              <a:defRPr sz="2000" b="1" i="0">
                <a:latin typeface="+mj-lt"/>
              </a:defRPr>
            </a:lvl2pPr>
            <a:lvl3pPr>
              <a:defRPr sz="2000" b="1" i="0">
                <a:latin typeface="+mj-lt"/>
              </a:defRPr>
            </a:lvl3pPr>
            <a:lvl4pPr>
              <a:defRPr sz="2000" b="1" i="0">
                <a:latin typeface="+mj-lt"/>
              </a:defRPr>
            </a:lvl4pPr>
            <a:lvl5pPr>
              <a:defRPr sz="2000" b="1" i="0">
                <a:latin typeface="+mj-lt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A1293F7-13B5-CD9D-1788-A7D2338EB481}"/>
              </a:ext>
            </a:extLst>
          </p:cNvPr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39" y="6180763"/>
            <a:ext cx="4309200" cy="442672"/>
          </a:xfrm>
          <a:prstGeom prst="rect">
            <a:avLst/>
          </a:prstGeom>
        </p:spPr>
      </p:pic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88CB718E-B61A-F2D1-3C82-4A4443A4EEAB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979561" y="6339451"/>
            <a:ext cx="3698089" cy="1238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©2025 Jones Lang LaSalle I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025878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pace_4">
    <p:bg>
      <p:bgPr>
        <a:solidFill>
          <a:srgbClr val="003E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7569E7B8-5037-47D6-4958-5BA7C6EDB89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9133" t="1742" r="10" b="6883"/>
          <a:stretch/>
        </p:blipFill>
        <p:spPr>
          <a:xfrm flipH="1">
            <a:off x="4251874" y="0"/>
            <a:ext cx="7940126" cy="6858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5603055-0C3A-4F1B-B936-540A4B6E9A3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515939" y="3124199"/>
            <a:ext cx="8123236" cy="1044575"/>
          </a:xfrm>
        </p:spPr>
        <p:txBody>
          <a:bodyPr anchor="t" anchorCtr="0"/>
          <a:lstStyle>
            <a:lvl1pPr>
              <a:defRPr sz="1800" b="1" i="0">
                <a:solidFill>
                  <a:schemeClr val="bg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>
              <a:defRPr sz="2000" b="1" i="0">
                <a:latin typeface="+mj-lt"/>
              </a:defRPr>
            </a:lvl2pPr>
            <a:lvl3pPr>
              <a:defRPr sz="2000" b="1" i="0">
                <a:latin typeface="+mj-lt"/>
              </a:defRPr>
            </a:lvl3pPr>
            <a:lvl4pPr>
              <a:defRPr sz="2000" b="1" i="0">
                <a:latin typeface="+mj-lt"/>
              </a:defRPr>
            </a:lvl4pPr>
            <a:lvl5pPr>
              <a:defRPr sz="2000" b="1" i="0">
                <a:latin typeface="+mj-lt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032E0255-35FE-A1A0-2506-3155C2A117F9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515938" y="4410075"/>
            <a:ext cx="8123237" cy="85724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  <a:latin typeface="Source Serif Pro" panose="02040603050405020204" pitchFamily="18" charset="0"/>
                <a:ea typeface="Source Serif Pro" panose="02040603050405020204" pitchFamily="18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i="1">
                <a:solidFill>
                  <a:schemeClr val="bg1"/>
                </a:solidFill>
                <a:latin typeface="Source Serif Pro" panose="02040603050405020204" pitchFamily="18" charset="0"/>
                <a:ea typeface="Source Serif Pro" panose="02040603050405020204" pitchFamily="18" charset="0"/>
                <a:cs typeface="Times New Roman" panose="02020603050405020304" pitchFamily="18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E9440BD-A2CC-7C6E-4BB1-05FAE88DB36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15939" y="967410"/>
            <a:ext cx="8123236" cy="1660525"/>
          </a:xfrm>
        </p:spPr>
        <p:txBody>
          <a:bodyPr anchor="b" anchorCtr="0"/>
          <a:lstStyle>
            <a:lvl1pPr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0CB9FB-0DFE-33B0-71D0-3B0B7EAEB8B8}"/>
              </a:ext>
            </a:extLst>
          </p:cNvPr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9" y="6180635"/>
            <a:ext cx="4315968" cy="443373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3943F8-CAA9-52BE-3118-9B25EC17FB9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979561" y="6339451"/>
            <a:ext cx="3698089" cy="1238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©2025 Jones Lang LaSalle I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019185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cean">
    <p:bg>
      <p:bgPr>
        <a:solidFill>
          <a:srgbClr val="BCDE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A5D67D11-B1DF-64DE-C8AA-69045D193FE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2791" r="2791" b="17511"/>
          <a:stretch/>
        </p:blipFill>
        <p:spPr>
          <a:xfrm flipV="1">
            <a:off x="5842575" y="-1"/>
            <a:ext cx="6349425" cy="688003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7B0C576-968F-4EBC-6269-927D466E42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15938" y="1843200"/>
            <a:ext cx="7343775" cy="2235200"/>
          </a:xfrm>
        </p:spPr>
        <p:txBody>
          <a:bodyPr anchor="ctr" anchorCtr="0"/>
          <a:lstStyle>
            <a:lvl1pPr>
              <a:defRPr sz="4800" b="0">
                <a:solidFill>
                  <a:schemeClr val="tx1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75A1FA-71AD-D797-7EB8-1352B92A2AC2}"/>
              </a:ext>
            </a:extLst>
          </p:cNvPr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814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6136B9-1BE5-38AE-6BFB-D9C88BA6355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7424338" y="-1"/>
            <a:ext cx="4767662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BAE58FC-6186-2607-EDB2-F0CD0D1039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D9CCD684-F2C2-AC46-74DA-0708B691ACCF}"/>
              </a:ext>
            </a:extLst>
          </p:cNvPr>
          <p:cNvSpPr>
            <a:spLocks noGrp="1"/>
          </p:cNvSpPr>
          <p:nvPr>
            <p:ph type="tbl" sz="quarter" idx="12"/>
            <p:custDataLst>
              <p:tags r:id="rId3"/>
            </p:custDataLst>
          </p:nvPr>
        </p:nvSpPr>
        <p:spPr>
          <a:xfrm>
            <a:off x="523073" y="1143000"/>
            <a:ext cx="6973102" cy="5094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44C780B-19B4-4F3F-D1AA-CC1C9FD6A277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4"/>
            </p:custDataLst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24213B-62CE-275A-27AC-A398562BED10}"/>
              </a:ext>
            </a:extLst>
          </p:cNvPr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2134" y="6333226"/>
            <a:ext cx="656793" cy="292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6672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with image">
    <p:bg>
      <p:bgPr>
        <a:solidFill>
          <a:srgbClr val="003E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2EA9946-8913-B2D7-84CE-5E396D3A662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12401" y="6332400"/>
            <a:ext cx="699396" cy="2922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BAE58FC-6186-2607-EDB2-F0CD0D1039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D9CCD684-F2C2-AC46-74DA-0708B691ACCF}"/>
              </a:ext>
            </a:extLst>
          </p:cNvPr>
          <p:cNvSpPr>
            <a:spLocks noGrp="1"/>
          </p:cNvSpPr>
          <p:nvPr>
            <p:ph type="tbl" sz="quarter" idx="12"/>
            <p:custDataLst>
              <p:tags r:id="rId3"/>
            </p:custDataLst>
          </p:nvPr>
        </p:nvSpPr>
        <p:spPr>
          <a:xfrm>
            <a:off x="515939" y="1143000"/>
            <a:ext cx="5435599" cy="50942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C7E7CD6-3871-ACFA-6D44-4D40F353D58C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4"/>
            </p:custDataLst>
          </p:nvPr>
        </p:nvSpPr>
        <p:spPr>
          <a:xfrm>
            <a:off x="6240462" y="1143000"/>
            <a:ext cx="5435599" cy="509428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5CF20D0-1B36-E46F-523B-5AD8C7C5A32B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1864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BDAD9D8C-A3CC-B789-F66F-61D4A76B7C81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6096000" y="0"/>
            <a:ext cx="609600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DD136-07DC-B0FA-905D-866FED0052D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15938" y="415926"/>
            <a:ext cx="5231719" cy="53657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94F2621-4BD8-E445-27F7-ABC92AD4572F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515938" y="1143000"/>
            <a:ext cx="5231719" cy="5094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18EDDF77-0298-4243-42E5-36FEFEEBCC2B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523073" y="6499225"/>
            <a:ext cx="3698089" cy="123825"/>
          </a:xfrm>
        </p:spPr>
        <p:txBody>
          <a:bodyPr/>
          <a:lstStyle/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7342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5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1A7957-D67C-D995-EBB1-DFD3D7433B9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523073" y="6499225"/>
            <a:ext cx="3698089" cy="1238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fld id="{0001D976-1952-4225-8B5D-FB6C01AF75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3"/>
            </p:custDataLst>
          </p:nvPr>
        </p:nvSpPr>
        <p:spPr>
          <a:xfrm>
            <a:off x="515938" y="415925"/>
            <a:ext cx="11161711" cy="5175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4"/>
            </p:custDataLst>
          </p:nvPr>
        </p:nvSpPr>
        <p:spPr>
          <a:xfrm>
            <a:off x="523073" y="1143000"/>
            <a:ext cx="11161711" cy="50761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41F50A-7CF9-76A8-6E7B-932CCB6D283A}"/>
              </a:ext>
            </a:extLst>
          </p:cNvPr>
          <p:cNvPicPr>
            <a:picLocks noChangeAspect="1"/>
          </p:cNvPicPr>
          <p:nvPr userDrawn="1">
            <p:custDataLst>
              <p:tags r:id="rId35"/>
            </p:custDataLst>
          </p:nvPr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2134" y="6333226"/>
            <a:ext cx="656793" cy="292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692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4153" r:id="rId2"/>
    <p:sldLayoutId id="2147483840" r:id="rId3"/>
    <p:sldLayoutId id="2147484147" r:id="rId4"/>
    <p:sldLayoutId id="2147483793" r:id="rId5"/>
    <p:sldLayoutId id="2147483800" r:id="rId6"/>
    <p:sldLayoutId id="2147483802" r:id="rId7"/>
    <p:sldLayoutId id="2147483806" r:id="rId8"/>
    <p:sldLayoutId id="2147483807" r:id="rId9"/>
    <p:sldLayoutId id="2147483810" r:id="rId10"/>
    <p:sldLayoutId id="2147483811" r:id="rId11"/>
    <p:sldLayoutId id="2147483835" r:id="rId12"/>
    <p:sldLayoutId id="2147484143" r:id="rId13"/>
    <p:sldLayoutId id="2147484144" r:id="rId14"/>
    <p:sldLayoutId id="2147483818" r:id="rId15"/>
    <p:sldLayoutId id="2147483827" r:id="rId16"/>
    <p:sldLayoutId id="2147484152" r:id="rId17"/>
    <p:sldLayoutId id="2147484150" r:id="rId18"/>
    <p:sldLayoutId id="2147484149" r:id="rId19"/>
    <p:sldLayoutId id="2147484148" r:id="rId20"/>
    <p:sldLayoutId id="2147484138" r:id="rId21"/>
    <p:sldLayoutId id="2147484146" r:id="rId22"/>
    <p:sldLayoutId id="2147484145" r:id="rId23"/>
    <p:sldLayoutId id="2147484140" r:id="rId24"/>
    <p:sldLayoutId id="2147484139" r:id="rId25"/>
    <p:sldLayoutId id="2147484141" r:id="rId26"/>
    <p:sldLayoutId id="2147483885" r:id="rId27"/>
    <p:sldLayoutId id="2147483856" r:id="rId28"/>
    <p:sldLayoutId id="2147483857" r:id="rId29"/>
    <p:sldLayoutId id="2147484154" r:id="rId30"/>
  </p:sldLayoutIdLst>
  <p:hf hd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1"/>
          </a:solidFill>
          <a:latin typeface="Source Sans Pro Light" panose="020B0403030403020204" pitchFamily="34" charset="0"/>
          <a:ea typeface="Source Sans Pro Light" panose="020B0403030403020204" pitchFamily="34" charset="0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1300"/>
        </a:spcBef>
        <a:spcAft>
          <a:spcPts val="0"/>
        </a:spcAft>
        <a:buFontTx/>
        <a:buNone/>
        <a:defRPr sz="1400" b="0" i="0" kern="1200">
          <a:solidFill>
            <a:schemeClr val="tx1"/>
          </a:solidFill>
          <a:latin typeface="Source Sans Pro Light" panose="020B0403030403020204" pitchFamily="34" charset="0"/>
          <a:ea typeface="Source Sans Pro Light" panose="020B0403030403020204" pitchFamily="34" charset="0"/>
          <a:cs typeface="Times New Roman" charset="0"/>
        </a:defRPr>
      </a:lvl1pPr>
      <a:lvl2pPr marL="180975" indent="-180975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Source Sans Pro Light" panose="020B0403030403020204" pitchFamily="34" charset="0"/>
          <a:ea typeface="Source Sans Pro Light" panose="020B0403030403020204" pitchFamily="34" charset="0"/>
          <a:cs typeface="+mn-cs"/>
        </a:defRPr>
      </a:lvl2pPr>
      <a:lvl3pPr marL="361950" indent="-179388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i="0" kern="1200">
          <a:solidFill>
            <a:schemeClr val="tx1"/>
          </a:solidFill>
          <a:latin typeface="Source Sans Pro Light" panose="020B0403030403020204" pitchFamily="34" charset="0"/>
          <a:ea typeface="Source Sans Pro Light" panose="020B0403030403020204" pitchFamily="34" charset="0"/>
          <a:cs typeface="+mn-cs"/>
        </a:defRPr>
      </a:lvl3pPr>
      <a:lvl4pPr marL="540000" indent="-180000" algn="l" defTabSz="914377" rtl="0" eaLnBrk="1" latinLnBrk="0" hangingPunct="1">
        <a:lnSpc>
          <a:spcPct val="100000"/>
        </a:lnSpc>
        <a:spcBef>
          <a:spcPts val="600"/>
        </a:spcBef>
        <a:buClrTx/>
        <a:buFont typeface=".HelveticaNeueDeskInterface-Regular" charset="-120"/>
        <a:buChar char="–"/>
        <a:defRPr sz="1400" i="0" kern="1200">
          <a:solidFill>
            <a:schemeClr val="tx1"/>
          </a:solidFill>
          <a:latin typeface="Source Sans Pro Light" panose="020B0403030403020204" pitchFamily="34" charset="0"/>
          <a:ea typeface="Source Sans Pro Light" panose="020B0403030403020204" pitchFamily="34" charset="0"/>
          <a:cs typeface="+mn-cs"/>
        </a:defRPr>
      </a:lvl4pPr>
      <a:lvl5pPr marL="720000" indent="-180000" algn="l" defTabSz="914377" rtl="0" eaLnBrk="1" latinLnBrk="0" hangingPunct="1">
        <a:lnSpc>
          <a:spcPct val="100000"/>
        </a:lnSpc>
        <a:spcBef>
          <a:spcPts val="600"/>
        </a:spcBef>
        <a:buClrTx/>
        <a:buFont typeface=".HelveticaNeueDeskInterface-Regular" charset="-120"/>
        <a:buChar char="–"/>
        <a:defRPr sz="1400" i="0" kern="1200">
          <a:solidFill>
            <a:schemeClr val="tx1"/>
          </a:solidFill>
          <a:latin typeface="Source Sans Pro Light" panose="020B0403030403020204" pitchFamily="34" charset="0"/>
          <a:ea typeface="Source Sans Pro Light" panose="020B0403030403020204" pitchFamily="34" charset="0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3" orient="horz" pos="3929" userDrawn="1">
          <p15:clr>
            <a:srgbClr val="F26B43"/>
          </p15:clr>
        </p15:guide>
        <p15:guide id="18" orient="horz" pos="720" userDrawn="1">
          <p15:clr>
            <a:srgbClr val="F26B43"/>
          </p15:clr>
        </p15:guide>
        <p15:guide id="33" pos="325" userDrawn="1">
          <p15:clr>
            <a:srgbClr val="F26B43"/>
          </p15:clr>
        </p15:guide>
        <p15:guide id="34" pos="7356" userDrawn="1">
          <p15:clr>
            <a:srgbClr val="F26B43"/>
          </p15:clr>
        </p15:guide>
        <p15:guide id="35" pos="7355" userDrawn="1">
          <p15:clr>
            <a:srgbClr val="F26B43"/>
          </p15:clr>
        </p15:guide>
        <p15:guide id="36" pos="3749" userDrawn="1">
          <p15:clr>
            <a:srgbClr val="F26B43"/>
          </p15:clr>
        </p15:guide>
        <p15:guide id="37" pos="3931" userDrawn="1">
          <p15:clr>
            <a:srgbClr val="F26B43"/>
          </p15:clr>
        </p15:guide>
        <p15:guide id="38" pos="4951" userDrawn="1">
          <p15:clr>
            <a:srgbClr val="F26B43"/>
          </p15:clr>
        </p15:guide>
        <p15:guide id="39" pos="2729" userDrawn="1">
          <p15:clr>
            <a:srgbClr val="F26B43"/>
          </p15:clr>
        </p15:guide>
        <p15:guide id="40" pos="5133" userDrawn="1">
          <p15:clr>
            <a:srgbClr val="F26B43"/>
          </p15:clr>
        </p15:guide>
        <p15:guide id="41" pos="2547" userDrawn="1">
          <p15:clr>
            <a:srgbClr val="F26B43"/>
          </p15:clr>
        </p15:guide>
        <p15:guide id="42" pos="6153" userDrawn="1">
          <p15:clr>
            <a:srgbClr val="F26B43"/>
          </p15:clr>
        </p15:guide>
        <p15:guide id="43" pos="1527" userDrawn="1">
          <p15:clr>
            <a:srgbClr val="F26B43"/>
          </p15:clr>
        </p15:guide>
        <p15:guide id="44" pos="6335" userDrawn="1">
          <p15:clr>
            <a:srgbClr val="F26B43"/>
          </p15:clr>
        </p15:guide>
        <p15:guide id="45" pos="1345" userDrawn="1">
          <p15:clr>
            <a:srgbClr val="F26B43"/>
          </p15:clr>
        </p15:guide>
        <p15:guide id="46" orient="horz" pos="600" userDrawn="1">
          <p15:clr>
            <a:srgbClr val="F26B43"/>
          </p15:clr>
        </p15:guide>
        <p15:guide id="47" orient="horz" pos="1632" userDrawn="1">
          <p15:clr>
            <a:srgbClr val="F26B43"/>
          </p15:clr>
        </p15:guide>
        <p15:guide id="48" orient="horz" pos="1866" userDrawn="1">
          <p15:clr>
            <a:srgbClr val="F26B43"/>
          </p15:clr>
        </p15:guide>
        <p15:guide id="49" orient="horz" pos="2784" userDrawn="1">
          <p15:clr>
            <a:srgbClr val="F26B43"/>
          </p15:clr>
        </p15:guide>
        <p15:guide id="50" orient="horz" pos="4156" userDrawn="1">
          <p15:clr>
            <a:srgbClr val="F26B43"/>
          </p15:clr>
        </p15:guide>
        <p15:guide id="51" orient="horz" pos="30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../media/image14.jpeg"/><Relationship Id="rId4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6.png"/><Relationship Id="rId12" Type="http://schemas.openxmlformats.org/officeDocument/2006/relationships/image" Target="../media/image31.svg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25.sv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0" Type="http://schemas.openxmlformats.org/officeDocument/2006/relationships/image" Target="../media/image29.svg"/><Relationship Id="rId4" Type="http://schemas.openxmlformats.org/officeDocument/2006/relationships/image" Target="../media/image32.jpeg"/><Relationship Id="rId9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7.xml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svg"/><Relationship Id="rId7" Type="http://schemas.openxmlformats.org/officeDocument/2006/relationships/image" Target="../media/image39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8.png"/><Relationship Id="rId5" Type="http://schemas.openxmlformats.org/officeDocument/2006/relationships/image" Target="../media/image37.svg"/><Relationship Id="rId4" Type="http://schemas.openxmlformats.org/officeDocument/2006/relationships/image" Target="../media/image36.png"/><Relationship Id="rId9" Type="http://schemas.openxmlformats.org/officeDocument/2006/relationships/image" Target="../media/image41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129.xml"/><Relationship Id="rId1" Type="http://schemas.openxmlformats.org/officeDocument/2006/relationships/tags" Target="../tags/tag1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1.xml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20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5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7.xml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slideLayout" Target="../slideLayouts/slideLayout30.xml"/><Relationship Id="rId4" Type="http://schemas.openxmlformats.org/officeDocument/2006/relationships/tags" Target="../tags/tag13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1.xml"/><Relationship Id="rId4" Type="http://schemas.openxmlformats.org/officeDocument/2006/relationships/image" Target="../media/image10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4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120.xml"/><Relationship Id="rId1" Type="http://schemas.openxmlformats.org/officeDocument/2006/relationships/tags" Target="../tags/tag1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2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7.sv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26.png"/><Relationship Id="rId11" Type="http://schemas.openxmlformats.org/officeDocument/2006/relationships/image" Target="../media/image31.svg"/><Relationship Id="rId5" Type="http://schemas.openxmlformats.org/officeDocument/2006/relationships/image" Target="../media/image25.sv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572C3E-396D-B0A4-EBA2-564E60B719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A person and person standing on a wooden wall&#10;&#10;AI-generated content may be incorrect.">
            <a:extLst>
              <a:ext uri="{FF2B5EF4-FFF2-40B4-BE49-F238E27FC236}">
                <a16:creationId xmlns:a16="http://schemas.microsoft.com/office/drawing/2014/main" id="{329D9EBD-6399-CB4E-C65F-0607C0C9BAC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/>
          <a:srcRect l="21073" r="21073"/>
          <a:stretch/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E0A7EBE-9768-7AC1-CA7F-D4E09C3D0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>
                <a:latin typeface="Source Sans Pro Light" panose="020B0403030403020204" pitchFamily="34" charset="0"/>
              </a:rPr>
              <a:t>Jessi Scurte</a:t>
            </a:r>
          </a:p>
          <a:p>
            <a:pPr lvl="1"/>
            <a:r>
              <a:rPr lang="en-US" dirty="0"/>
              <a:t>Global Brand &amp; Creative Directo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91F926-1F96-8128-E116-7B14C2CD22F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15940" y="1018211"/>
            <a:ext cx="4744218" cy="1609724"/>
          </a:xfrm>
        </p:spPr>
        <p:txBody>
          <a:bodyPr/>
          <a:lstStyle/>
          <a:p>
            <a:r>
              <a:rPr lang="en-US" dirty="0"/>
              <a:t>Don’t Take No for an Answer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28CE97-48FD-D5DF-B723-2628D45F695D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2"/>
            </p:custDataLst>
          </p:nvPr>
        </p:nvSpPr>
        <p:spPr>
          <a:xfrm>
            <a:off x="515939" y="3117850"/>
            <a:ext cx="4225743" cy="607559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reative Content Marketing Strategies to Recapture Their Interest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AF2A5B09-63F8-B958-AE6D-406C61774791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7979561" y="6328327"/>
            <a:ext cx="3698089" cy="1238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z="800" dirty="0"/>
              <a:t>©2025</a:t>
            </a:r>
          </a:p>
        </p:txBody>
      </p:sp>
    </p:spTree>
    <p:extLst>
      <p:ext uri="{BB962C8B-B14F-4D97-AF65-F5344CB8AC3E}">
        <p14:creationId xmlns:p14="http://schemas.microsoft.com/office/powerpoint/2010/main" val="3439844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278716-A64F-BD74-697E-8DA64CD529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sitting at a table with a computer&#10;&#10;AI-generated content may be incorrect.">
            <a:extLst>
              <a:ext uri="{FF2B5EF4-FFF2-40B4-BE49-F238E27FC236}">
                <a16:creationId xmlns:a16="http://schemas.microsoft.com/office/drawing/2014/main" id="{5789B69D-5136-B1B3-1A58-B87E57D5981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63919" t="12770" r="15314" b="40011"/>
          <a:stretch>
            <a:fillRect/>
          </a:stretch>
        </p:blipFill>
        <p:spPr>
          <a:xfrm>
            <a:off x="532281" y="1775655"/>
            <a:ext cx="2314611" cy="296035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38ED7C-7F03-17E7-D575-B99B2C2A82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A4CA3A91-8EB1-BAC8-44CF-C4894DE8BDB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23072" y="1130180"/>
            <a:ext cx="4180903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200" dirty="0"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CEO Cynthia</a:t>
            </a:r>
            <a:endParaRPr sz="3200" dirty="0">
              <a:latin typeface="Source Sans Pro SemiBold" panose="020B0603030403020204" pitchFamily="34" charset="0"/>
              <a:ea typeface="Source Sans Pro SemiBold" panose="020B0603030403020204" pitchFamily="34" charset="0"/>
              <a:cs typeface="+mj-cs"/>
            </a:endParaRPr>
          </a:p>
        </p:txBody>
      </p:sp>
      <p:sp>
        <p:nvSpPr>
          <p:cNvPr id="23" name="object 3">
            <a:extLst>
              <a:ext uri="{FF2B5EF4-FFF2-40B4-BE49-F238E27FC236}">
                <a16:creationId xmlns:a16="http://schemas.microsoft.com/office/drawing/2014/main" id="{7B7E7B67-DD23-A188-A1C6-4D2C28D6C00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489480" y="1130180"/>
            <a:ext cx="4180903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0"/>
              </a:spcBef>
            </a:pPr>
            <a:r>
              <a:rPr lang="en-US" sz="3200" dirty="0"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US, Canada</a:t>
            </a:r>
            <a:endParaRPr sz="3200" dirty="0">
              <a:latin typeface="Source Sans Pro SemiBold" panose="020B0603030403020204" pitchFamily="34" charset="0"/>
              <a:ea typeface="Source Sans Pro SemiBold" panose="020B0603030403020204" pitchFamily="34" charset="0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6595B6-C0D4-D845-5B26-7FD711F0570C}"/>
              </a:ext>
            </a:extLst>
          </p:cNvPr>
          <p:cNvSpPr txBox="1"/>
          <p:nvPr/>
        </p:nvSpPr>
        <p:spPr>
          <a:xfrm>
            <a:off x="4221163" y="2454458"/>
            <a:ext cx="2806620" cy="18620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Source Sans Pro Light" panose="020B0403030403020204" pitchFamily="34" charset="0"/>
                <a:ea typeface="Source Sans Pro Light" panose="020B0403030403020204" pitchFamily="34" charset="0"/>
                <a:cs typeface="Segoe UI" panose="020B0502040204020203" pitchFamily="34" charset="0"/>
              </a:rPr>
              <a:t>Improve and strengthen brand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egoe UI" panose="020B0502040204020203" pitchFamily="34" charset="0"/>
              </a:rPr>
              <a:t>Attract talent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egoe UI" panose="020B0502040204020203" pitchFamily="34" charset="0"/>
              </a:rPr>
              <a:t>Retain top talent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A2063D-1FA1-BA88-0EE9-D7EFE3CCD501}"/>
              </a:ext>
            </a:extLst>
          </p:cNvPr>
          <p:cNvSpPr txBox="1"/>
          <p:nvPr/>
        </p:nvSpPr>
        <p:spPr>
          <a:xfrm>
            <a:off x="8494021" y="2454458"/>
            <a:ext cx="2714654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Source Sans Pro Light" panose="020B0403030403020204" pitchFamily="34" charset="0"/>
                <a:ea typeface="Source Sans Pro Light" panose="020B0403030403020204" pitchFamily="34" charset="0"/>
                <a:cs typeface="Segoe UI" panose="020B0502040204020203" pitchFamily="34" charset="0"/>
              </a:rPr>
              <a:t>Hiring</a:t>
            </a:r>
            <a:endParaRPr lang="en-US" sz="2000" dirty="0">
              <a:solidFill>
                <a:srgbClr val="131E29"/>
              </a:solidFill>
              <a:latin typeface="Source Sans Pro Light" panose="020B0403030403020204" pitchFamily="34" charset="0"/>
              <a:ea typeface="Source Sans Pro Light" panose="020B0403030403020204" pitchFamily="34" charset="0"/>
              <a:cs typeface="Segoe UI" panose="020B0502040204020203" pitchFamily="34" charset="0"/>
            </a:endParaRP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131E29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egoe UI" panose="020B0502040204020203" pitchFamily="34" charset="0"/>
              </a:rPr>
              <a:t>Employee resistance to return to office</a:t>
            </a:r>
            <a:endParaRPr lang="en-US" sz="2000" dirty="0">
              <a:latin typeface="Source Sans Pro Light" panose="020B0403030403020204" pitchFamily="34" charset="0"/>
              <a:ea typeface="Source Sans Pro Light" panose="020B0403030403020204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298F452-3E03-FE15-9D98-E84E1758216E}"/>
              </a:ext>
            </a:extLst>
          </p:cNvPr>
          <p:cNvSpPr txBox="1"/>
          <p:nvPr/>
        </p:nvSpPr>
        <p:spPr>
          <a:xfrm>
            <a:off x="4221162" y="5970654"/>
            <a:ext cx="670744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Source Sans Pro Light" panose="020B0403030403020204" pitchFamily="34" charset="0"/>
                <a:ea typeface="Source Sans Pro Light" panose="020B0403030403020204" pitchFamily="34" charset="0"/>
                <a:cs typeface="Segoe UI" panose="020B0502040204020203" pitchFamily="34" charset="0"/>
              </a:rPr>
              <a:t>Email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B82AE3-232F-FACA-6427-0CC8EC92FC48}"/>
              </a:ext>
            </a:extLst>
          </p:cNvPr>
          <p:cNvSpPr txBox="1"/>
          <p:nvPr/>
        </p:nvSpPr>
        <p:spPr>
          <a:xfrm>
            <a:off x="-863600" y="63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A279898D-0618-015A-AF13-6466D59F2E05}"/>
              </a:ext>
            </a:extLst>
          </p:cNvPr>
          <p:cNvSpPr txBox="1">
            <a:spLocks/>
          </p:cNvSpPr>
          <p:nvPr/>
        </p:nvSpPr>
        <p:spPr>
          <a:xfrm>
            <a:off x="421668" y="378218"/>
            <a:ext cx="7343775" cy="123031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j-cs"/>
              </a:defRPr>
            </a:lvl1pPr>
          </a:lstStyle>
          <a:p>
            <a:r>
              <a:rPr lang="en-GB" dirty="0"/>
              <a:t>Persona</a:t>
            </a:r>
            <a:endParaRPr lang="en-US" sz="1800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25" name="Shape 19509">
            <a:extLst>
              <a:ext uri="{FF2B5EF4-FFF2-40B4-BE49-F238E27FC236}">
                <a16:creationId xmlns:a16="http://schemas.microsoft.com/office/drawing/2014/main" id="{2CF69CA0-4573-E716-8006-93641736F04D}"/>
              </a:ext>
            </a:extLst>
          </p:cNvPr>
          <p:cNvSpPr/>
          <p:nvPr/>
        </p:nvSpPr>
        <p:spPr>
          <a:xfrm>
            <a:off x="3338123" y="1913379"/>
            <a:ext cx="640080" cy="640080"/>
          </a:xfrm>
          <a:prstGeom prst="ellipse">
            <a:avLst/>
          </a:prstGeom>
          <a:solidFill>
            <a:srgbClr val="BCDEE6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71438" tIns="71438" rIns="71438" bIns="71438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421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  <a:sym typeface="Gill Sans"/>
            </a:endParaRPr>
          </a:p>
        </p:txBody>
      </p:sp>
      <p:sp>
        <p:nvSpPr>
          <p:cNvPr id="26" name="Shape 19509">
            <a:extLst>
              <a:ext uri="{FF2B5EF4-FFF2-40B4-BE49-F238E27FC236}">
                <a16:creationId xmlns:a16="http://schemas.microsoft.com/office/drawing/2014/main" id="{515DAC36-680B-7A07-1094-A472F852969F}"/>
              </a:ext>
            </a:extLst>
          </p:cNvPr>
          <p:cNvSpPr/>
          <p:nvPr/>
        </p:nvSpPr>
        <p:spPr>
          <a:xfrm>
            <a:off x="1364944" y="4415948"/>
            <a:ext cx="640080" cy="640080"/>
          </a:xfrm>
          <a:prstGeom prst="ellipse">
            <a:avLst/>
          </a:prstGeom>
          <a:solidFill>
            <a:srgbClr val="BCDEE6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71438" tIns="71438" rIns="71438" bIns="71438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421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  <a:sym typeface="Gill Sans"/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34EBC60-0CCB-B5C6-9ECC-0EC6BDA1888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11353" y="4460376"/>
            <a:ext cx="551224" cy="551224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A30B4071-895A-D8CA-9A0D-08CC622A4A88}"/>
              </a:ext>
            </a:extLst>
          </p:cNvPr>
          <p:cNvSpPr txBox="1"/>
          <p:nvPr/>
        </p:nvSpPr>
        <p:spPr>
          <a:xfrm>
            <a:off x="4048909" y="2020543"/>
            <a:ext cx="311583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2000" b="1" dirty="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egoe UI" panose="020B0502040204020203" pitchFamily="34" charset="0"/>
              </a:rPr>
              <a:t>Goals: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5C4613F-39B4-2246-0F85-257FF4B087E8}"/>
              </a:ext>
            </a:extLst>
          </p:cNvPr>
          <p:cNvCxnSpPr/>
          <p:nvPr/>
        </p:nvCxnSpPr>
        <p:spPr>
          <a:xfrm>
            <a:off x="3308589" y="1756786"/>
            <a:ext cx="8360338" cy="0"/>
          </a:xfrm>
          <a:prstGeom prst="line">
            <a:avLst/>
          </a:prstGeom>
          <a:ln>
            <a:solidFill>
              <a:srgbClr val="131E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683BCC5-6334-7222-74A3-22450C219CCA}"/>
              </a:ext>
            </a:extLst>
          </p:cNvPr>
          <p:cNvCxnSpPr/>
          <p:nvPr/>
        </p:nvCxnSpPr>
        <p:spPr>
          <a:xfrm>
            <a:off x="3299381" y="5230837"/>
            <a:ext cx="8360338" cy="0"/>
          </a:xfrm>
          <a:prstGeom prst="line">
            <a:avLst/>
          </a:prstGeom>
          <a:ln>
            <a:solidFill>
              <a:srgbClr val="131E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6394A5F-A973-ADD7-EAB3-81A9425ACBB8}"/>
              </a:ext>
            </a:extLst>
          </p:cNvPr>
          <p:cNvCxnSpPr>
            <a:cxnSpLocks/>
          </p:cNvCxnSpPr>
          <p:nvPr/>
        </p:nvCxnSpPr>
        <p:spPr>
          <a:xfrm>
            <a:off x="7489480" y="1756813"/>
            <a:ext cx="0" cy="3474024"/>
          </a:xfrm>
          <a:prstGeom prst="line">
            <a:avLst/>
          </a:prstGeom>
          <a:ln>
            <a:solidFill>
              <a:srgbClr val="131E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A142DCA2-3F1B-A387-D9CC-F0B572109B8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92490" y="1937929"/>
            <a:ext cx="551224" cy="551224"/>
          </a:xfrm>
          <a:prstGeom prst="rect">
            <a:avLst/>
          </a:prstGeom>
        </p:spPr>
      </p:pic>
      <p:sp>
        <p:nvSpPr>
          <p:cNvPr id="33" name="Shape 19509">
            <a:extLst>
              <a:ext uri="{FF2B5EF4-FFF2-40B4-BE49-F238E27FC236}">
                <a16:creationId xmlns:a16="http://schemas.microsoft.com/office/drawing/2014/main" id="{C413DDC1-3C8A-5E52-C963-4C0166940BCD}"/>
              </a:ext>
            </a:extLst>
          </p:cNvPr>
          <p:cNvSpPr/>
          <p:nvPr/>
        </p:nvSpPr>
        <p:spPr>
          <a:xfrm>
            <a:off x="7631827" y="1913379"/>
            <a:ext cx="640080" cy="640080"/>
          </a:xfrm>
          <a:prstGeom prst="ellipse">
            <a:avLst/>
          </a:prstGeom>
          <a:solidFill>
            <a:srgbClr val="BCDEE6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71438" tIns="71438" rIns="71438" bIns="71438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421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  <a:sym typeface="Gill San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77CA1C6-F858-5D5A-0D4C-3ADB8B2A1FB4}"/>
              </a:ext>
            </a:extLst>
          </p:cNvPr>
          <p:cNvSpPr txBox="1"/>
          <p:nvPr/>
        </p:nvSpPr>
        <p:spPr>
          <a:xfrm>
            <a:off x="8342613" y="2020543"/>
            <a:ext cx="311583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2000" b="1" dirty="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egoe UI" panose="020B0502040204020203" pitchFamily="34" charset="0"/>
              </a:rPr>
              <a:t>Challenges: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407318B1-777D-327F-D696-5C743376CAB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58307" y="1977996"/>
            <a:ext cx="551224" cy="551224"/>
          </a:xfrm>
          <a:prstGeom prst="rect">
            <a:avLst/>
          </a:prstGeom>
        </p:spPr>
      </p:pic>
      <p:sp>
        <p:nvSpPr>
          <p:cNvPr id="36" name="Shape 19509">
            <a:extLst>
              <a:ext uri="{FF2B5EF4-FFF2-40B4-BE49-F238E27FC236}">
                <a16:creationId xmlns:a16="http://schemas.microsoft.com/office/drawing/2014/main" id="{1FCEC7EE-6B69-4FBD-F6AD-DBF2122A6A1E}"/>
              </a:ext>
            </a:extLst>
          </p:cNvPr>
          <p:cNvSpPr/>
          <p:nvPr/>
        </p:nvSpPr>
        <p:spPr>
          <a:xfrm>
            <a:off x="3338123" y="5377015"/>
            <a:ext cx="640080" cy="640080"/>
          </a:xfrm>
          <a:prstGeom prst="ellipse">
            <a:avLst/>
          </a:prstGeom>
          <a:solidFill>
            <a:srgbClr val="BCDEE6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71438" tIns="71438" rIns="71438" bIns="71438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421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  <a:sym typeface="Gill San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8B8ABC3-9689-50EB-01A1-1A7B1B6CADAA}"/>
              </a:ext>
            </a:extLst>
          </p:cNvPr>
          <p:cNvSpPr txBox="1"/>
          <p:nvPr/>
        </p:nvSpPr>
        <p:spPr>
          <a:xfrm>
            <a:off x="4048909" y="5484179"/>
            <a:ext cx="447163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2000" b="1" dirty="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egoe UI" panose="020B0502040204020203" pitchFamily="34" charset="0"/>
              </a:rPr>
              <a:t>Communication preferences: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DB99560A-E8C2-3364-C4C4-695B61A4A4E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386137" y="5422529"/>
            <a:ext cx="551224" cy="551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2735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long hallway with yellow lights&#10;&#10;AI-generated content may be incorrect.">
            <a:extLst>
              <a:ext uri="{FF2B5EF4-FFF2-40B4-BE49-F238E27FC236}">
                <a16:creationId xmlns:a16="http://schemas.microsoft.com/office/drawing/2014/main" id="{054E557C-7E24-11E5-1D09-533FAB4EF3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-1"/>
            <a:ext cx="12191998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27D325B-9944-6AEF-6F5B-7FDF49B919F0}"/>
              </a:ext>
            </a:extLst>
          </p:cNvPr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E01532-77AF-A4EC-3749-92A812F9A4E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The How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B50441A-C97E-81A1-5136-83CA46C549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6B0FFB6-FE50-3975-49A9-DA2C3CF047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12401" y="6332400"/>
            <a:ext cx="699396" cy="29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8677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278716-A64F-BD74-697E-8DA64CD529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38ED7C-7F03-17E7-D575-B99B2C2A82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56C40A96-9894-26AF-536B-A6B08A23839D}"/>
              </a:ext>
            </a:extLst>
          </p:cNvPr>
          <p:cNvSpPr txBox="1">
            <a:spLocks/>
          </p:cNvSpPr>
          <p:nvPr/>
        </p:nvSpPr>
        <p:spPr>
          <a:xfrm>
            <a:off x="421668" y="378218"/>
            <a:ext cx="7343775" cy="571176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j-cs"/>
              </a:defRPr>
            </a:lvl1pPr>
          </a:lstStyle>
          <a:p>
            <a:r>
              <a:rPr lang="en-GB" dirty="0"/>
              <a:t>Buying Journey</a:t>
            </a:r>
            <a:endParaRPr lang="en-US" sz="1800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BE97BE7-8027-255E-16E7-6B171F7B52A9}"/>
              </a:ext>
            </a:extLst>
          </p:cNvPr>
          <p:cNvGrpSpPr/>
          <p:nvPr/>
        </p:nvGrpSpPr>
        <p:grpSpPr>
          <a:xfrm>
            <a:off x="6134547" y="2751838"/>
            <a:ext cx="2718896" cy="1958127"/>
            <a:chOff x="6134547" y="2751838"/>
            <a:chExt cx="2718896" cy="1958127"/>
          </a:xfrm>
        </p:grpSpPr>
        <p:sp>
          <p:nvSpPr>
            <p:cNvPr id="42" name="Shape 19507">
              <a:extLst>
                <a:ext uri="{FF2B5EF4-FFF2-40B4-BE49-F238E27FC236}">
                  <a16:creationId xmlns:a16="http://schemas.microsoft.com/office/drawing/2014/main" id="{52840B9F-02FD-5804-B032-C7894A064AA9}"/>
                </a:ext>
              </a:extLst>
            </p:cNvPr>
            <p:cNvSpPr/>
            <p:nvPr/>
          </p:nvSpPr>
          <p:spPr>
            <a:xfrm>
              <a:off x="6134547" y="3150432"/>
              <a:ext cx="2718896" cy="1559533"/>
            </a:xfrm>
            <a:prstGeom prst="rect">
              <a:avLst/>
            </a:prstGeom>
            <a:solidFill>
              <a:srgbClr val="E5F3F6"/>
            </a:solidFill>
            <a:ln w="12700" cap="flat">
              <a:noFill/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5063" b="0" i="0" u="none" strike="noStrike" kern="1200" cap="none" spc="0" normalizeH="0" baseline="0" noProof="0">
                <a:ln>
                  <a:noFill/>
                </a:ln>
                <a:solidFill>
                  <a:srgbClr val="131E29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B4FAB04-C162-D64B-6CFC-1B8CA9AE43E0}"/>
                </a:ext>
              </a:extLst>
            </p:cNvPr>
            <p:cNvSpPr txBox="1"/>
            <p:nvPr/>
          </p:nvSpPr>
          <p:spPr>
            <a:xfrm>
              <a:off x="6134547" y="3809141"/>
              <a:ext cx="2718896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u="none" strike="noStrike" kern="1200" cap="none" spc="0" normalizeH="0" baseline="0" noProof="0" dirty="0">
                  <a:ln>
                    <a:noFill/>
                  </a:ln>
                  <a:solidFill>
                    <a:srgbClr val="131E29"/>
                  </a:solidFill>
                  <a:effectLst/>
                  <a:uLnTx/>
                  <a:uFillTx/>
                  <a:latin typeface="Source Sans Pro Light" panose="020B0403030403020204" pitchFamily="34" charset="0"/>
                  <a:ea typeface="Source Sans Pro Light" panose="020B0403030403020204" pitchFamily="34" charset="0"/>
                  <a:cs typeface="Poppins" pitchFamily="2" charset="77"/>
                </a:rPr>
                <a:t>Decision</a:t>
              </a:r>
            </a:p>
          </p:txBody>
        </p:sp>
        <p:sp>
          <p:nvSpPr>
            <p:cNvPr id="46" name="Shape 19509">
              <a:extLst>
                <a:ext uri="{FF2B5EF4-FFF2-40B4-BE49-F238E27FC236}">
                  <a16:creationId xmlns:a16="http://schemas.microsoft.com/office/drawing/2014/main" id="{7BF73E69-36E0-0EF3-4FAF-2FF6531CED68}"/>
                </a:ext>
              </a:extLst>
            </p:cNvPr>
            <p:cNvSpPr/>
            <p:nvPr/>
          </p:nvSpPr>
          <p:spPr>
            <a:xfrm>
              <a:off x="7113797" y="2751838"/>
              <a:ext cx="793402" cy="793402"/>
            </a:xfrm>
            <a:prstGeom prst="ellipse">
              <a:avLst/>
            </a:prstGeom>
            <a:solidFill>
              <a:srgbClr val="E5F3F6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42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pic>
          <p:nvPicPr>
            <p:cNvPr id="83" name="Graphic 82">
              <a:extLst>
                <a:ext uri="{FF2B5EF4-FFF2-40B4-BE49-F238E27FC236}">
                  <a16:creationId xmlns:a16="http://schemas.microsoft.com/office/drawing/2014/main" id="{B9413CF1-E71B-5090-381D-AC0FE4A4FB3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167598" y="2805639"/>
              <a:ext cx="685800" cy="68580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28E63894-FB2B-8117-05CC-2E74F2BD3E03}"/>
              </a:ext>
            </a:extLst>
          </p:cNvPr>
          <p:cNvGrpSpPr/>
          <p:nvPr/>
        </p:nvGrpSpPr>
        <p:grpSpPr>
          <a:xfrm>
            <a:off x="3335447" y="2345600"/>
            <a:ext cx="2720463" cy="2364365"/>
            <a:chOff x="3335447" y="2345600"/>
            <a:chExt cx="2720463" cy="2364365"/>
          </a:xfrm>
        </p:grpSpPr>
        <p:sp>
          <p:nvSpPr>
            <p:cNvPr id="43" name="Shape 19475">
              <a:extLst>
                <a:ext uri="{FF2B5EF4-FFF2-40B4-BE49-F238E27FC236}">
                  <a16:creationId xmlns:a16="http://schemas.microsoft.com/office/drawing/2014/main" id="{C34F329C-98A2-BFD0-3956-C7983A8847B5}"/>
                </a:ext>
              </a:extLst>
            </p:cNvPr>
            <p:cNvSpPr/>
            <p:nvPr/>
          </p:nvSpPr>
          <p:spPr>
            <a:xfrm>
              <a:off x="3335447" y="2738654"/>
              <a:ext cx="2720463" cy="1971311"/>
            </a:xfrm>
            <a:prstGeom prst="rect">
              <a:avLst/>
            </a:prstGeom>
            <a:solidFill>
              <a:srgbClr val="D1E8ED"/>
            </a:solidFill>
            <a:ln w="12700" cap="flat">
              <a:noFill/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5063" b="0" i="0" u="none" strike="noStrike" kern="1200" cap="none" spc="0" normalizeH="0" baseline="0" noProof="0">
                <a:ln>
                  <a:noFill/>
                </a:ln>
                <a:solidFill>
                  <a:srgbClr val="131E29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DFED6F9C-D3BE-7039-5EB9-3325B7C24EAD}"/>
                </a:ext>
              </a:extLst>
            </p:cNvPr>
            <p:cNvSpPr txBox="1"/>
            <p:nvPr/>
          </p:nvSpPr>
          <p:spPr>
            <a:xfrm>
              <a:off x="3337014" y="3402128"/>
              <a:ext cx="2718896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u="none" strike="noStrike" kern="1200" cap="none" spc="0" normalizeH="0" baseline="0" noProof="0" dirty="0">
                  <a:ln>
                    <a:noFill/>
                  </a:ln>
                  <a:solidFill>
                    <a:srgbClr val="131E29"/>
                  </a:solidFill>
                  <a:effectLst/>
                  <a:uLnTx/>
                  <a:uFillTx/>
                  <a:latin typeface="Source Sans Pro Light" panose="020B0403030403020204" pitchFamily="34" charset="0"/>
                  <a:ea typeface="Source Sans Pro Light" panose="020B0403030403020204" pitchFamily="34" charset="0"/>
                  <a:cs typeface="Poppins" pitchFamily="2" charset="77"/>
                </a:rPr>
                <a:t>Consideration</a:t>
              </a:r>
            </a:p>
          </p:txBody>
        </p:sp>
        <p:sp>
          <p:nvSpPr>
            <p:cNvPr id="49" name="Shape 19509">
              <a:extLst>
                <a:ext uri="{FF2B5EF4-FFF2-40B4-BE49-F238E27FC236}">
                  <a16:creationId xmlns:a16="http://schemas.microsoft.com/office/drawing/2014/main" id="{7288A245-C1F8-9410-43F5-C088BC15541B}"/>
                </a:ext>
              </a:extLst>
            </p:cNvPr>
            <p:cNvSpPr/>
            <p:nvPr/>
          </p:nvSpPr>
          <p:spPr>
            <a:xfrm>
              <a:off x="4319923" y="2345600"/>
              <a:ext cx="793402" cy="793402"/>
            </a:xfrm>
            <a:prstGeom prst="ellipse">
              <a:avLst/>
            </a:prstGeom>
            <a:solidFill>
              <a:srgbClr val="D1E8ED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421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pic>
          <p:nvPicPr>
            <p:cNvPr id="86" name="Graphic 85">
              <a:extLst>
                <a:ext uri="{FF2B5EF4-FFF2-40B4-BE49-F238E27FC236}">
                  <a16:creationId xmlns:a16="http://schemas.microsoft.com/office/drawing/2014/main" id="{83D10D38-C392-5F8B-C748-4035CF8524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373724" y="2399401"/>
              <a:ext cx="685800" cy="685800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A5262E1-C0F1-9EEC-5967-B628510C8309}"/>
              </a:ext>
            </a:extLst>
          </p:cNvPr>
          <p:cNvGrpSpPr/>
          <p:nvPr/>
        </p:nvGrpSpPr>
        <p:grpSpPr>
          <a:xfrm>
            <a:off x="521127" y="1997447"/>
            <a:ext cx="2728928" cy="2712519"/>
            <a:chOff x="521127" y="1997447"/>
            <a:chExt cx="2728928" cy="2712519"/>
          </a:xfrm>
        </p:grpSpPr>
        <p:sp>
          <p:nvSpPr>
            <p:cNvPr id="44" name="Shape 19491">
              <a:extLst>
                <a:ext uri="{FF2B5EF4-FFF2-40B4-BE49-F238E27FC236}">
                  <a16:creationId xmlns:a16="http://schemas.microsoft.com/office/drawing/2014/main" id="{3622A62E-0C85-9BB7-B591-EEC6BF6620B9}"/>
                </a:ext>
              </a:extLst>
            </p:cNvPr>
            <p:cNvSpPr/>
            <p:nvPr/>
          </p:nvSpPr>
          <p:spPr>
            <a:xfrm>
              <a:off x="531156" y="2396736"/>
              <a:ext cx="2718899" cy="2313230"/>
            </a:xfrm>
            <a:prstGeom prst="rect">
              <a:avLst/>
            </a:prstGeom>
            <a:solidFill>
              <a:srgbClr val="BCDEE6"/>
            </a:solidFill>
            <a:ln w="12700" cap="flat">
              <a:noFill/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5063" b="0" i="0" u="none" strike="noStrike" kern="1200" cap="none" spc="0" normalizeH="0" baseline="0" noProof="0">
                <a:ln>
                  <a:noFill/>
                </a:ln>
                <a:solidFill>
                  <a:srgbClr val="131E29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B8F7CE6-36B7-F3F2-7907-B3762C8256C7}"/>
                </a:ext>
              </a:extLst>
            </p:cNvPr>
            <p:cNvSpPr txBox="1"/>
            <p:nvPr/>
          </p:nvSpPr>
          <p:spPr>
            <a:xfrm>
              <a:off x="521127" y="3057338"/>
              <a:ext cx="2718896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u="none" strike="noStrike" kern="1200" cap="none" spc="0" normalizeH="0" baseline="0" noProof="0" dirty="0">
                  <a:ln>
                    <a:noFill/>
                  </a:ln>
                  <a:solidFill>
                    <a:srgbClr val="131E29"/>
                  </a:solidFill>
                  <a:effectLst/>
                  <a:uLnTx/>
                  <a:uFillTx/>
                  <a:latin typeface="Source Sans Pro Light" panose="020B0403030403020204" pitchFamily="34" charset="0"/>
                  <a:ea typeface="Source Sans Pro Light" panose="020B0403030403020204" pitchFamily="34" charset="0"/>
                  <a:cs typeface="Poppins" pitchFamily="2" charset="77"/>
                </a:rPr>
                <a:t>Awareness</a:t>
              </a:r>
            </a:p>
          </p:txBody>
        </p:sp>
        <p:sp>
          <p:nvSpPr>
            <p:cNvPr id="52" name="Shape 19509">
              <a:extLst>
                <a:ext uri="{FF2B5EF4-FFF2-40B4-BE49-F238E27FC236}">
                  <a16:creationId xmlns:a16="http://schemas.microsoft.com/office/drawing/2014/main" id="{3C0CB89B-6566-8399-F1D9-FB03220F9440}"/>
                </a:ext>
              </a:extLst>
            </p:cNvPr>
            <p:cNvSpPr/>
            <p:nvPr/>
          </p:nvSpPr>
          <p:spPr>
            <a:xfrm>
              <a:off x="1493904" y="1997447"/>
              <a:ext cx="793402" cy="793402"/>
            </a:xfrm>
            <a:prstGeom prst="ellipse">
              <a:avLst/>
            </a:prstGeom>
            <a:solidFill>
              <a:srgbClr val="BCDEE6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421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pic>
          <p:nvPicPr>
            <p:cNvPr id="87" name="Graphic 86">
              <a:extLst>
                <a:ext uri="{FF2B5EF4-FFF2-40B4-BE49-F238E27FC236}">
                  <a16:creationId xmlns:a16="http://schemas.microsoft.com/office/drawing/2014/main" id="{664155E1-58FC-01F9-1E27-10AB66E6CF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547705" y="2051248"/>
              <a:ext cx="685800" cy="68580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C2CA363-4FF0-46A4-C3AC-E07EB51FED2E}"/>
              </a:ext>
            </a:extLst>
          </p:cNvPr>
          <p:cNvGrpSpPr/>
          <p:nvPr/>
        </p:nvGrpSpPr>
        <p:grpSpPr>
          <a:xfrm>
            <a:off x="8941949" y="2727805"/>
            <a:ext cx="2727381" cy="1982160"/>
            <a:chOff x="8941949" y="2727805"/>
            <a:chExt cx="2727381" cy="1982160"/>
          </a:xfrm>
        </p:grpSpPr>
        <p:sp>
          <p:nvSpPr>
            <p:cNvPr id="68" name="Shape 19475">
              <a:extLst>
                <a:ext uri="{FF2B5EF4-FFF2-40B4-BE49-F238E27FC236}">
                  <a16:creationId xmlns:a16="http://schemas.microsoft.com/office/drawing/2014/main" id="{7E4F0B2A-F610-18B9-48BE-BCFF8F241E24}"/>
                </a:ext>
              </a:extLst>
            </p:cNvPr>
            <p:cNvSpPr/>
            <p:nvPr/>
          </p:nvSpPr>
          <p:spPr>
            <a:xfrm>
              <a:off x="8948867" y="3139002"/>
              <a:ext cx="2720463" cy="1570963"/>
            </a:xfrm>
            <a:prstGeom prst="rect">
              <a:avLst/>
            </a:prstGeom>
            <a:solidFill>
              <a:srgbClr val="E30613"/>
            </a:solidFill>
            <a:ln w="12700" cap="flat">
              <a:noFill/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5063" b="0" i="0" u="none" strike="noStrike" kern="1200" cap="none" spc="0" normalizeH="0" baseline="0" noProof="0" dirty="0">
                <a:ln>
                  <a:noFill/>
                </a:ln>
                <a:solidFill>
                  <a:srgbClr val="131E29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0E7BD1BE-FE81-07EA-34E9-0C01E3EBA0B0}"/>
                </a:ext>
              </a:extLst>
            </p:cNvPr>
            <p:cNvSpPr txBox="1"/>
            <p:nvPr/>
          </p:nvSpPr>
          <p:spPr>
            <a:xfrm>
              <a:off x="8941949" y="3809141"/>
              <a:ext cx="2718896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ource Sans Pro Light" panose="020B0403030403020204" pitchFamily="34" charset="0"/>
                  <a:ea typeface="Source Sans Pro Light" panose="020B0403030403020204" pitchFamily="34" charset="0"/>
                  <a:cs typeface="Poppins" pitchFamily="2" charset="77"/>
                </a:rPr>
                <a:t>Re-Engage</a:t>
              </a:r>
            </a:p>
          </p:txBody>
        </p:sp>
        <p:sp>
          <p:nvSpPr>
            <p:cNvPr id="70" name="Shape 19509">
              <a:extLst>
                <a:ext uri="{FF2B5EF4-FFF2-40B4-BE49-F238E27FC236}">
                  <a16:creationId xmlns:a16="http://schemas.microsoft.com/office/drawing/2014/main" id="{3F03A5B8-9980-9DC2-61F4-17D5FDE046E1}"/>
                </a:ext>
              </a:extLst>
            </p:cNvPr>
            <p:cNvSpPr/>
            <p:nvPr/>
          </p:nvSpPr>
          <p:spPr>
            <a:xfrm>
              <a:off x="9912397" y="2727805"/>
              <a:ext cx="793402" cy="793402"/>
            </a:xfrm>
            <a:prstGeom prst="ellipse">
              <a:avLst/>
            </a:prstGeom>
            <a:solidFill>
              <a:srgbClr val="E30613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421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pic>
          <p:nvPicPr>
            <p:cNvPr id="88" name="Graphic 87">
              <a:extLst>
                <a:ext uri="{FF2B5EF4-FFF2-40B4-BE49-F238E27FC236}">
                  <a16:creationId xmlns:a16="http://schemas.microsoft.com/office/drawing/2014/main" id="{5D32EEAA-AB96-60AA-2130-CC0B9D0C5FE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966198" y="2781606"/>
              <a:ext cx="685800" cy="685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460677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010D2B79-7F8B-4CED-92E4-802A421E2FA6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1"/>
            </p:custDataLst>
          </p:nvPr>
        </p:nvSpPr>
        <p:spPr>
          <a:xfrm>
            <a:off x="601663" y="2576514"/>
            <a:ext cx="5109326" cy="2292349"/>
          </a:xfrm>
        </p:spPr>
        <p:txBody>
          <a:bodyPr/>
          <a:lstStyle/>
          <a:p>
            <a:r>
              <a:rPr lang="en-US" dirty="0"/>
              <a:t>Workshop action</a:t>
            </a:r>
          </a:p>
          <a:p>
            <a:r>
              <a:rPr lang="en-US" sz="7200" dirty="0">
                <a:solidFill>
                  <a:srgbClr val="E30613"/>
                </a:solidFill>
              </a:rPr>
              <a:t>02</a:t>
            </a:r>
            <a:endParaRPr lang="en-US" sz="2000" dirty="0"/>
          </a:p>
          <a:p>
            <a:endParaRPr lang="en-US" sz="1400" dirty="0"/>
          </a:p>
          <a:p>
            <a:r>
              <a:rPr lang="en-US" sz="2000" dirty="0"/>
              <a:t>(2 minute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10DA0-CBE4-5006-1F0C-4BBBCE0C5B58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6481013" y="2576513"/>
            <a:ext cx="5166475" cy="2292349"/>
          </a:xfrm>
        </p:spPr>
        <p:txBody>
          <a:bodyPr/>
          <a:lstStyle/>
          <a:p>
            <a:r>
              <a:rPr lang="en-US" sz="2000" dirty="0">
                <a:solidFill>
                  <a:srgbClr val="003E51"/>
                </a:solidFill>
              </a:rPr>
              <a:t>Sketch Your Persona</a:t>
            </a:r>
          </a:p>
          <a:p>
            <a:endParaRPr lang="en-US" sz="2000" dirty="0">
              <a:solidFill>
                <a:srgbClr val="003E51"/>
              </a:solidFill>
            </a:endParaRPr>
          </a:p>
          <a:p>
            <a:r>
              <a:rPr lang="en-US" sz="3600" b="1" dirty="0">
                <a:solidFill>
                  <a:srgbClr val="E30613"/>
                </a:solidFill>
              </a:rPr>
              <a:t>Role</a:t>
            </a:r>
          </a:p>
          <a:p>
            <a:r>
              <a:rPr lang="en-US" dirty="0"/>
              <a:t>Goal</a:t>
            </a:r>
          </a:p>
          <a:p>
            <a:r>
              <a:rPr lang="en-US" sz="3600" b="1" dirty="0">
                <a:solidFill>
                  <a:srgbClr val="E30613"/>
                </a:solidFill>
              </a:rPr>
              <a:t>Challenge</a:t>
            </a:r>
          </a:p>
        </p:txBody>
      </p:sp>
    </p:spTree>
    <p:extLst>
      <p:ext uri="{BB962C8B-B14F-4D97-AF65-F5344CB8AC3E}">
        <p14:creationId xmlns:p14="http://schemas.microsoft.com/office/powerpoint/2010/main" val="3394087793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C311A0-0F61-B650-2571-9080D6E47B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03FF2A-9CCA-5064-A327-1217BF3DB6A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CC6F962-EB83-6ECB-A447-768B88FE5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E237A5-F11A-051B-5FDF-405592B1BA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The Strateg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533100-251E-3718-969E-8752D05E776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12401" y="6332400"/>
            <a:ext cx="699396" cy="29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966229"/>
      </p:ext>
    </p:extLst>
  </p:cSld>
  <p:clrMapOvr>
    <a:masterClrMapping/>
  </p:clrMapOvr>
  <p:transition spd="slow">
    <p:push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2218C12-165E-DD5B-722C-F10F6368630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6770"/>
          <a:stretch/>
        </p:blipFill>
        <p:spPr>
          <a:xfrm>
            <a:off x="0" y="1"/>
            <a:ext cx="12191999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27D325B-9944-6AEF-6F5B-7FDF49B919F0}"/>
              </a:ext>
            </a:extLst>
          </p:cNvPr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E01532-77AF-A4EC-3749-92A812F9A4E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The Wha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B50441A-C97E-81A1-5136-83CA46C549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BCB177-14A2-3619-EA80-858815268FF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12401" y="6332400"/>
            <a:ext cx="699396" cy="29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0953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50FCFB-5B5B-9167-6844-31C386D751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8F2B2B-E90B-00DC-1A0D-174E5F7EA89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BA2099FE-EF89-0B2E-3DA1-F855B3E37F52}"/>
              </a:ext>
            </a:extLst>
          </p:cNvPr>
          <p:cNvSpPr txBox="1">
            <a:spLocks/>
          </p:cNvSpPr>
          <p:nvPr/>
        </p:nvSpPr>
        <p:spPr>
          <a:xfrm>
            <a:off x="421668" y="378218"/>
            <a:ext cx="7343775" cy="123031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j-cs"/>
              </a:defRPr>
            </a:lvl1pPr>
          </a:lstStyle>
          <a:p>
            <a:r>
              <a:rPr lang="en-GB" dirty="0"/>
              <a:t>The Strategy</a:t>
            </a:r>
            <a:endParaRPr lang="en-US" sz="1800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62BD653-EB0F-B383-294C-AF6B10408910}"/>
              </a:ext>
            </a:extLst>
          </p:cNvPr>
          <p:cNvGrpSpPr/>
          <p:nvPr/>
        </p:nvGrpSpPr>
        <p:grpSpPr>
          <a:xfrm>
            <a:off x="533399" y="1368619"/>
            <a:ext cx="3544980" cy="4332095"/>
            <a:chOff x="533399" y="1368619"/>
            <a:chExt cx="3544980" cy="433209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3EB632-A0F2-A551-3FD5-E52FEB7DED6E}"/>
                </a:ext>
              </a:extLst>
            </p:cNvPr>
            <p:cNvSpPr/>
            <p:nvPr/>
          </p:nvSpPr>
          <p:spPr>
            <a:xfrm>
              <a:off x="533400" y="1948593"/>
              <a:ext cx="3544979" cy="705796"/>
            </a:xfrm>
            <a:prstGeom prst="rect">
              <a:avLst/>
            </a:prstGeom>
            <a:solidFill>
              <a:srgbClr val="E5F3F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R="0" lvl="0" indent="0" fontAlgn="auto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None/>
                <a:tabLst/>
              </a:pPr>
              <a:endParaRPr lang="en-US" sz="1400" kern="0" noProof="0"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28" name="Shape 19509">
              <a:extLst>
                <a:ext uri="{FF2B5EF4-FFF2-40B4-BE49-F238E27FC236}">
                  <a16:creationId xmlns:a16="http://schemas.microsoft.com/office/drawing/2014/main" id="{66B63797-9C68-80CD-C331-E8D3E2418DAA}"/>
                </a:ext>
              </a:extLst>
            </p:cNvPr>
            <p:cNvSpPr/>
            <p:nvPr/>
          </p:nvSpPr>
          <p:spPr>
            <a:xfrm>
              <a:off x="1904130" y="1368619"/>
              <a:ext cx="793402" cy="793402"/>
            </a:xfrm>
            <a:prstGeom prst="ellipse">
              <a:avLst/>
            </a:prstGeom>
            <a:solidFill>
              <a:srgbClr val="E5F3F6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42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B3A257A-9783-3136-F4CB-69918190BFB8}"/>
                </a:ext>
              </a:extLst>
            </p:cNvPr>
            <p:cNvSpPr/>
            <p:nvPr/>
          </p:nvSpPr>
          <p:spPr>
            <a:xfrm>
              <a:off x="533400" y="2734850"/>
              <a:ext cx="3544979" cy="2965864"/>
            </a:xfrm>
            <a:prstGeom prst="rect">
              <a:avLst/>
            </a:prstGeom>
            <a:solidFill>
              <a:srgbClr val="E5F3F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L="0" marR="0" lvl="0" indent="0" defTabSz="914400" eaLnBrk="1" fontAlgn="auto" latinLnBrk="0" hangingPunct="1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lang="en-US" sz="1400" kern="0"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16" name="Text Placeholder 4">
              <a:extLst>
                <a:ext uri="{FF2B5EF4-FFF2-40B4-BE49-F238E27FC236}">
                  <a16:creationId xmlns:a16="http://schemas.microsoft.com/office/drawing/2014/main" id="{D6B012CD-F45D-1676-35C2-826EB7EE1CEC}"/>
                </a:ext>
              </a:extLst>
            </p:cNvPr>
            <p:cNvSpPr txBox="1">
              <a:spLocks/>
            </p:cNvSpPr>
            <p:nvPr/>
          </p:nvSpPr>
          <p:spPr>
            <a:xfrm>
              <a:off x="533399" y="2257033"/>
              <a:ext cx="3544979" cy="276999"/>
            </a:xfrm>
            <a:prstGeom prst="rect">
              <a:avLst/>
            </a:prstGeom>
          </p:spPr>
          <p:txBody>
            <a:bodyPr/>
            <a:lstStyle>
              <a:lvl1pPr marL="0" indent="0" algn="l" defTabSz="914377" rtl="0" eaLnBrk="1" latinLnBrk="0" hangingPunct="1">
                <a:lnSpc>
                  <a:spcPct val="100000"/>
                </a:lnSpc>
                <a:spcBef>
                  <a:spcPts val="1300"/>
                </a:spcBef>
                <a:spcAft>
                  <a:spcPts val="0"/>
                </a:spcAft>
                <a:buFontTx/>
                <a:buNone/>
                <a:defRPr sz="1400" b="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Times New Roman" charset="0"/>
                </a:defRPr>
              </a:lvl1pPr>
              <a:lvl2pPr marL="180975" indent="-180975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2pPr>
              <a:lvl3pPr marL="361950" indent="-179388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3pPr>
              <a:lvl4pPr marL="540000" indent="-180000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.HelveticaNeueDeskInterface-Regular" charset="-12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4pPr>
              <a:lvl5pPr marL="720000" indent="-180000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.HelveticaNeueDeskInterface-Regular" charset="-12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600" b="1" dirty="0">
                  <a:latin typeface="Source Sans Pro SemiBold" panose="020B0503030403020204" pitchFamily="34" charset="0"/>
                  <a:ea typeface="Source Sans Pro SemiBold" panose="020B0503030403020204" pitchFamily="34" charset="0"/>
                </a:rPr>
                <a:t>Timing</a:t>
              </a:r>
            </a:p>
          </p:txBody>
        </p:sp>
        <p:sp>
          <p:nvSpPr>
            <p:cNvPr id="19" name="Text Placeholder 7">
              <a:extLst>
                <a:ext uri="{FF2B5EF4-FFF2-40B4-BE49-F238E27FC236}">
                  <a16:creationId xmlns:a16="http://schemas.microsoft.com/office/drawing/2014/main" id="{6B3A8B6D-1111-BE83-990A-0FF34CD40A11}"/>
                </a:ext>
              </a:extLst>
            </p:cNvPr>
            <p:cNvSpPr txBox="1">
              <a:spLocks/>
            </p:cNvSpPr>
            <p:nvPr/>
          </p:nvSpPr>
          <p:spPr>
            <a:xfrm>
              <a:off x="705690" y="2905907"/>
              <a:ext cx="3200400" cy="2492990"/>
            </a:xfrm>
            <a:prstGeom prst="rect">
              <a:avLst/>
            </a:prstGeom>
          </p:spPr>
          <p:txBody>
            <a:bodyPr>
              <a:spAutoFit/>
            </a:bodyPr>
            <a:lstStyle>
              <a:lvl1pPr marL="0" indent="0" algn="l" defTabSz="914377" rtl="0" eaLnBrk="1" latinLnBrk="0" hangingPunct="1">
                <a:lnSpc>
                  <a:spcPct val="100000"/>
                </a:lnSpc>
                <a:spcBef>
                  <a:spcPts val="1300"/>
                </a:spcBef>
                <a:spcAft>
                  <a:spcPts val="0"/>
                </a:spcAft>
                <a:buFontTx/>
                <a:buNone/>
                <a:defRPr sz="1400" b="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Times New Roman" charset="0"/>
                </a:defRPr>
              </a:lvl1pPr>
              <a:lvl2pPr marL="180975" indent="-180975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2pPr>
              <a:lvl3pPr marL="361950" indent="-179388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3pPr>
              <a:lvl4pPr marL="540000" indent="-180000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.HelveticaNeueDeskInterface-Regular" charset="-12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4pPr>
              <a:lvl5pPr marL="720000" indent="-180000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.HelveticaNeueDeskInterface-Regular" charset="-12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en-US" b="1" dirty="0">
                  <a:solidFill>
                    <a:srgbClr val="131E29"/>
                  </a:solidFill>
                </a:rPr>
                <a:t>Messaging objective:</a:t>
              </a:r>
            </a:p>
            <a:p>
              <a:pPr>
                <a:spcBef>
                  <a:spcPts val="600"/>
                </a:spcBef>
              </a:pPr>
              <a:r>
                <a:rPr lang="en-US" dirty="0">
                  <a:solidFill>
                    <a:srgbClr val="131E29"/>
                  </a:solidFill>
                </a:rPr>
                <a:t>Stay top of mind</a:t>
              </a:r>
            </a:p>
            <a:p>
              <a:pPr>
                <a:spcBef>
                  <a:spcPts val="600"/>
                </a:spcBef>
              </a:pPr>
              <a:endParaRPr lang="en-US" b="1" dirty="0">
                <a:solidFill>
                  <a:srgbClr val="131E29"/>
                </a:solidFill>
              </a:endParaRPr>
            </a:p>
            <a:p>
              <a:pPr>
                <a:spcBef>
                  <a:spcPts val="600"/>
                </a:spcBef>
              </a:pPr>
              <a:r>
                <a:rPr lang="en-US" b="1" dirty="0">
                  <a:solidFill>
                    <a:srgbClr val="131E29"/>
                  </a:solidFill>
                </a:rPr>
                <a:t>Ideas: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131E29"/>
                  </a:solidFill>
                </a:rPr>
                <a:t>Quarterly market trends report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131E29"/>
                  </a:solidFill>
                </a:rPr>
                <a:t>Invitation to a webinar where you’re flexing thought leadership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131E29"/>
                  </a:solidFill>
                </a:rPr>
                <a:t>Case study of a project similar to their past need</a:t>
              </a: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3C1E70D7-0407-982B-F419-F59D6ACA13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57931" y="1422420"/>
              <a:ext cx="685800" cy="6858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3B828839-EE54-0965-4580-E06706DE0EC8}"/>
              </a:ext>
            </a:extLst>
          </p:cNvPr>
          <p:cNvGrpSpPr/>
          <p:nvPr/>
        </p:nvGrpSpPr>
        <p:grpSpPr>
          <a:xfrm>
            <a:off x="8118763" y="1368619"/>
            <a:ext cx="3558886" cy="4332095"/>
            <a:chOff x="8118763" y="1368619"/>
            <a:chExt cx="3558886" cy="4332095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D2C3F93-9DEF-E50E-9414-7BAA332F1F1B}"/>
                </a:ext>
              </a:extLst>
            </p:cNvPr>
            <p:cNvSpPr/>
            <p:nvPr/>
          </p:nvSpPr>
          <p:spPr>
            <a:xfrm>
              <a:off x="8132670" y="2734850"/>
              <a:ext cx="3544979" cy="2965864"/>
            </a:xfrm>
            <a:prstGeom prst="rect">
              <a:avLst/>
            </a:prstGeom>
            <a:solidFill>
              <a:srgbClr val="BCDEE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L="0" indent="0">
                <a:spcBef>
                  <a:spcPts val="600"/>
                </a:spcBef>
                <a:buFont typeface="Arial" panose="020B0604020202020204" pitchFamily="34" charset="0"/>
                <a:buNone/>
                <a:defRPr/>
              </a:pPr>
              <a:endParaRPr lang="en-US" sz="1400" b="1" kern="0">
                <a:solidFill>
                  <a:srgbClr val="FFFFFF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21" name="Text Placeholder 9">
              <a:extLst>
                <a:ext uri="{FF2B5EF4-FFF2-40B4-BE49-F238E27FC236}">
                  <a16:creationId xmlns:a16="http://schemas.microsoft.com/office/drawing/2014/main" id="{C14C474D-F301-805D-1BF1-BC3C5EFB3C40}"/>
                </a:ext>
              </a:extLst>
            </p:cNvPr>
            <p:cNvSpPr txBox="1">
              <a:spLocks/>
            </p:cNvSpPr>
            <p:nvPr/>
          </p:nvSpPr>
          <p:spPr>
            <a:xfrm>
              <a:off x="8304960" y="2905907"/>
              <a:ext cx="3200400" cy="2492990"/>
            </a:xfrm>
            <a:prstGeom prst="rect">
              <a:avLst/>
            </a:prstGeom>
          </p:spPr>
          <p:txBody>
            <a:bodyPr>
              <a:spAutoFit/>
            </a:bodyPr>
            <a:lstStyle>
              <a:lvl1pPr marL="0" indent="0" algn="l" defTabSz="914377" rtl="0" eaLnBrk="1" latinLnBrk="0" hangingPunct="1">
                <a:lnSpc>
                  <a:spcPct val="100000"/>
                </a:lnSpc>
                <a:spcBef>
                  <a:spcPts val="1300"/>
                </a:spcBef>
                <a:spcAft>
                  <a:spcPts val="0"/>
                </a:spcAft>
                <a:buFontTx/>
                <a:buNone/>
                <a:defRPr sz="1400" b="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Times New Roman" charset="0"/>
                </a:defRPr>
              </a:lvl1pPr>
              <a:lvl2pPr marL="180975" indent="-180975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2pPr>
              <a:lvl3pPr marL="361950" indent="-179388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3pPr>
              <a:lvl4pPr marL="540000" indent="-180000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.HelveticaNeueDeskInterface-Regular" charset="-12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4pPr>
              <a:lvl5pPr marL="720000" indent="-180000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.HelveticaNeueDeskInterface-Regular" charset="-12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en-US" b="1" dirty="0">
                  <a:solidFill>
                    <a:srgbClr val="131E29"/>
                  </a:solidFill>
                </a:rPr>
                <a:t>Messaging objective:</a:t>
              </a:r>
            </a:p>
            <a:p>
              <a:pPr>
                <a:spcBef>
                  <a:spcPts val="600"/>
                </a:spcBef>
              </a:pPr>
              <a:r>
                <a:rPr lang="en-US" dirty="0">
                  <a:solidFill>
                    <a:srgbClr val="131E29"/>
                  </a:solidFill>
                </a:rPr>
                <a:t>Highlight your differentiators</a:t>
              </a:r>
            </a:p>
            <a:p>
              <a:pPr>
                <a:spcBef>
                  <a:spcPts val="600"/>
                </a:spcBef>
              </a:pPr>
              <a:endParaRPr lang="en-US" b="1" dirty="0">
                <a:solidFill>
                  <a:srgbClr val="131E29"/>
                </a:solidFill>
              </a:endParaRPr>
            </a:p>
            <a:p>
              <a:pPr>
                <a:spcBef>
                  <a:spcPts val="600"/>
                </a:spcBef>
              </a:pPr>
              <a:r>
                <a:rPr lang="en-US" b="1" dirty="0">
                  <a:solidFill>
                    <a:srgbClr val="131E29"/>
                  </a:solidFill>
                </a:rPr>
                <a:t>Ideas: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131E29"/>
                  </a:solidFill>
                </a:rPr>
                <a:t>An article about a project completed that aligns with your values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131E29"/>
                  </a:solidFill>
                </a:rPr>
                <a:t>Video about how your team is championing a unique strength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131E29"/>
                  </a:solidFill>
                </a:rPr>
                <a:t>People story about your talent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C02C2B1-776E-19DF-0919-C84F093BEC5E}"/>
                </a:ext>
              </a:extLst>
            </p:cNvPr>
            <p:cNvSpPr/>
            <p:nvPr/>
          </p:nvSpPr>
          <p:spPr>
            <a:xfrm>
              <a:off x="8118764" y="1948593"/>
              <a:ext cx="3544979" cy="705796"/>
            </a:xfrm>
            <a:prstGeom prst="rect">
              <a:avLst/>
            </a:prstGeom>
            <a:solidFill>
              <a:srgbClr val="BCDEE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R="0" lvl="0" indent="0" fontAlgn="auto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None/>
                <a:tabLst/>
              </a:pPr>
              <a:endParaRPr lang="en-US" sz="1400" kern="0" noProof="0"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47" name="Shape 19509">
              <a:extLst>
                <a:ext uri="{FF2B5EF4-FFF2-40B4-BE49-F238E27FC236}">
                  <a16:creationId xmlns:a16="http://schemas.microsoft.com/office/drawing/2014/main" id="{52376A3D-C38D-6DC1-A4DF-0C6D928CCFCC}"/>
                </a:ext>
              </a:extLst>
            </p:cNvPr>
            <p:cNvSpPr/>
            <p:nvPr/>
          </p:nvSpPr>
          <p:spPr>
            <a:xfrm>
              <a:off x="9489494" y="1368619"/>
              <a:ext cx="793402" cy="793402"/>
            </a:xfrm>
            <a:prstGeom prst="ellipse">
              <a:avLst/>
            </a:prstGeom>
            <a:solidFill>
              <a:srgbClr val="BCDEE6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42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48" name="Text Placeholder 4">
              <a:extLst>
                <a:ext uri="{FF2B5EF4-FFF2-40B4-BE49-F238E27FC236}">
                  <a16:creationId xmlns:a16="http://schemas.microsoft.com/office/drawing/2014/main" id="{07465DF9-CA1E-F450-4FFC-B354FEAEB64F}"/>
                </a:ext>
              </a:extLst>
            </p:cNvPr>
            <p:cNvSpPr txBox="1">
              <a:spLocks/>
            </p:cNvSpPr>
            <p:nvPr/>
          </p:nvSpPr>
          <p:spPr>
            <a:xfrm>
              <a:off x="8118763" y="2257033"/>
              <a:ext cx="3544979" cy="276999"/>
            </a:xfrm>
            <a:prstGeom prst="rect">
              <a:avLst/>
            </a:prstGeom>
          </p:spPr>
          <p:txBody>
            <a:bodyPr/>
            <a:lstStyle>
              <a:lvl1pPr marL="0" indent="0" algn="l" defTabSz="914377" rtl="0" eaLnBrk="1" latinLnBrk="0" hangingPunct="1">
                <a:lnSpc>
                  <a:spcPct val="100000"/>
                </a:lnSpc>
                <a:spcBef>
                  <a:spcPts val="1300"/>
                </a:spcBef>
                <a:spcAft>
                  <a:spcPts val="0"/>
                </a:spcAft>
                <a:buFontTx/>
                <a:buNone/>
                <a:defRPr sz="1400" b="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Times New Roman" charset="0"/>
                </a:defRPr>
              </a:lvl1pPr>
              <a:lvl2pPr marL="180975" indent="-180975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2pPr>
              <a:lvl3pPr marL="361950" indent="-179388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3pPr>
              <a:lvl4pPr marL="540000" indent="-180000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.HelveticaNeueDeskInterface-Regular" charset="-12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4pPr>
              <a:lvl5pPr marL="720000" indent="-180000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.HelveticaNeueDeskInterface-Regular" charset="-12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600" b="1" dirty="0">
                  <a:latin typeface="Source Sans Pro SemiBold" panose="020B0503030403020204" pitchFamily="34" charset="0"/>
                  <a:ea typeface="Source Sans Pro SemiBold" panose="020B0503030403020204" pitchFamily="34" charset="0"/>
                </a:rPr>
                <a:t>Fit</a:t>
              </a: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7825D626-3054-5F5A-B329-57D776627F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43295" y="1422420"/>
              <a:ext cx="685800" cy="6858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ED0C461A-CCB1-D367-89D6-A34DFE4F88FF}"/>
              </a:ext>
            </a:extLst>
          </p:cNvPr>
          <p:cNvGrpSpPr/>
          <p:nvPr/>
        </p:nvGrpSpPr>
        <p:grpSpPr>
          <a:xfrm>
            <a:off x="4323512" y="1368619"/>
            <a:ext cx="3547549" cy="4332095"/>
            <a:chOff x="4323512" y="1368619"/>
            <a:chExt cx="3547549" cy="4332095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CE78919-E27B-66D4-A798-5BB5811B0567}"/>
                </a:ext>
              </a:extLst>
            </p:cNvPr>
            <p:cNvSpPr/>
            <p:nvPr/>
          </p:nvSpPr>
          <p:spPr>
            <a:xfrm>
              <a:off x="4323512" y="2734850"/>
              <a:ext cx="3544979" cy="2965864"/>
            </a:xfrm>
            <a:prstGeom prst="rect">
              <a:avLst/>
            </a:prstGeom>
            <a:solidFill>
              <a:srgbClr val="D1E8E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L="0" marR="0" lvl="0" indent="0" defTabSz="914400" eaLnBrk="1" fontAlgn="auto" latinLnBrk="0" hangingPunct="1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20" name="Text Placeholder 8">
              <a:extLst>
                <a:ext uri="{FF2B5EF4-FFF2-40B4-BE49-F238E27FC236}">
                  <a16:creationId xmlns:a16="http://schemas.microsoft.com/office/drawing/2014/main" id="{1199D28C-7A68-9C08-EF1C-8020458908A3}"/>
                </a:ext>
              </a:extLst>
            </p:cNvPr>
            <p:cNvSpPr txBox="1">
              <a:spLocks/>
            </p:cNvSpPr>
            <p:nvPr/>
          </p:nvSpPr>
          <p:spPr>
            <a:xfrm>
              <a:off x="4495801" y="2905907"/>
              <a:ext cx="3200400" cy="2492990"/>
            </a:xfrm>
            <a:prstGeom prst="rect">
              <a:avLst/>
            </a:prstGeom>
          </p:spPr>
          <p:txBody>
            <a:bodyPr>
              <a:spAutoFit/>
            </a:bodyPr>
            <a:lstStyle>
              <a:lvl1pPr marL="0" indent="0" algn="l" defTabSz="914377" rtl="0" eaLnBrk="1" latinLnBrk="0" hangingPunct="1">
                <a:lnSpc>
                  <a:spcPct val="100000"/>
                </a:lnSpc>
                <a:spcBef>
                  <a:spcPts val="1300"/>
                </a:spcBef>
                <a:spcAft>
                  <a:spcPts val="0"/>
                </a:spcAft>
                <a:buFontTx/>
                <a:buNone/>
                <a:defRPr sz="1400" b="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Times New Roman" charset="0"/>
                </a:defRPr>
              </a:lvl1pPr>
              <a:lvl2pPr marL="180975" indent="-180975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2pPr>
              <a:lvl3pPr marL="361950" indent="-179388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3pPr>
              <a:lvl4pPr marL="540000" indent="-180000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.HelveticaNeueDeskInterface-Regular" charset="-12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4pPr>
              <a:lvl5pPr marL="720000" indent="-180000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.HelveticaNeueDeskInterface-Regular" charset="-12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en-US" b="1" dirty="0">
                  <a:solidFill>
                    <a:srgbClr val="131E29"/>
                  </a:solidFill>
                </a:rPr>
                <a:t>Messaging objective:</a:t>
              </a:r>
            </a:p>
            <a:p>
              <a:pPr>
                <a:spcBef>
                  <a:spcPts val="600"/>
                </a:spcBef>
              </a:pPr>
              <a:r>
                <a:rPr lang="en-US" dirty="0">
                  <a:solidFill>
                    <a:srgbClr val="131E29"/>
                  </a:solidFill>
                </a:rPr>
                <a:t>Prove ROI</a:t>
              </a:r>
            </a:p>
            <a:p>
              <a:pPr>
                <a:spcBef>
                  <a:spcPts val="600"/>
                </a:spcBef>
              </a:pPr>
              <a:endParaRPr lang="en-US" b="1" dirty="0">
                <a:solidFill>
                  <a:srgbClr val="131E29"/>
                </a:solidFill>
              </a:endParaRPr>
            </a:p>
            <a:p>
              <a:pPr>
                <a:spcBef>
                  <a:spcPts val="600"/>
                </a:spcBef>
              </a:pPr>
              <a:r>
                <a:rPr lang="en-US" b="1" dirty="0">
                  <a:solidFill>
                    <a:srgbClr val="131E29"/>
                  </a:solidFill>
                </a:rPr>
                <a:t>Ideas: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131E29"/>
                  </a:solidFill>
                </a:rPr>
                <a:t>Blog post on “The True Cost of XYZ”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131E29"/>
                  </a:solidFill>
                </a:rPr>
                <a:t>Case study with hard numbers on cost efficiencies and return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131E29"/>
                  </a:solidFill>
                </a:rPr>
                <a:t>An article about financing models for XYZ project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DD6E7D2-7C18-F00C-849D-63DDB9F28C65}"/>
                </a:ext>
              </a:extLst>
            </p:cNvPr>
            <p:cNvSpPr/>
            <p:nvPr/>
          </p:nvSpPr>
          <p:spPr>
            <a:xfrm>
              <a:off x="4326082" y="1948593"/>
              <a:ext cx="3544979" cy="705796"/>
            </a:xfrm>
            <a:prstGeom prst="rect">
              <a:avLst/>
            </a:prstGeom>
            <a:solidFill>
              <a:srgbClr val="D1E8E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R="0" lvl="0" indent="0" fontAlgn="auto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None/>
                <a:tabLst/>
              </a:pPr>
              <a:endParaRPr lang="en-US" sz="1400" kern="0" noProof="0"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35" name="Shape 19509">
              <a:extLst>
                <a:ext uri="{FF2B5EF4-FFF2-40B4-BE49-F238E27FC236}">
                  <a16:creationId xmlns:a16="http://schemas.microsoft.com/office/drawing/2014/main" id="{F8CC4A71-68ED-0E88-8956-32C04C94F512}"/>
                </a:ext>
              </a:extLst>
            </p:cNvPr>
            <p:cNvSpPr/>
            <p:nvPr/>
          </p:nvSpPr>
          <p:spPr>
            <a:xfrm>
              <a:off x="5696812" y="1368619"/>
              <a:ext cx="793402" cy="793402"/>
            </a:xfrm>
            <a:prstGeom prst="ellipse">
              <a:avLst/>
            </a:prstGeom>
            <a:solidFill>
              <a:srgbClr val="D1E8ED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42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36" name="Text Placeholder 4">
              <a:extLst>
                <a:ext uri="{FF2B5EF4-FFF2-40B4-BE49-F238E27FC236}">
                  <a16:creationId xmlns:a16="http://schemas.microsoft.com/office/drawing/2014/main" id="{32495EE0-E057-A333-11EB-186C64A6D032}"/>
                </a:ext>
              </a:extLst>
            </p:cNvPr>
            <p:cNvSpPr txBox="1">
              <a:spLocks/>
            </p:cNvSpPr>
            <p:nvPr/>
          </p:nvSpPr>
          <p:spPr>
            <a:xfrm>
              <a:off x="4326081" y="2257033"/>
              <a:ext cx="3544979" cy="276999"/>
            </a:xfrm>
            <a:prstGeom prst="rect">
              <a:avLst/>
            </a:prstGeom>
          </p:spPr>
          <p:txBody>
            <a:bodyPr/>
            <a:lstStyle>
              <a:lvl1pPr marL="0" indent="0" algn="l" defTabSz="914377" rtl="0" eaLnBrk="1" latinLnBrk="0" hangingPunct="1">
                <a:lnSpc>
                  <a:spcPct val="100000"/>
                </a:lnSpc>
                <a:spcBef>
                  <a:spcPts val="1300"/>
                </a:spcBef>
                <a:spcAft>
                  <a:spcPts val="0"/>
                </a:spcAft>
                <a:buFontTx/>
                <a:buNone/>
                <a:defRPr sz="1400" b="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Times New Roman" charset="0"/>
                </a:defRPr>
              </a:lvl1pPr>
              <a:lvl2pPr marL="180975" indent="-180975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2pPr>
              <a:lvl3pPr marL="361950" indent="-179388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3pPr>
              <a:lvl4pPr marL="540000" indent="-180000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.HelveticaNeueDeskInterface-Regular" charset="-12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4pPr>
              <a:lvl5pPr marL="720000" indent="-180000" algn="l" defTabSz="914377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.HelveticaNeueDeskInterface-Regular" charset="-120"/>
                <a:buChar char="–"/>
                <a:defRPr sz="1400" i="0" kern="1200">
                  <a:solidFill>
                    <a:schemeClr val="tx1"/>
                  </a:solidFill>
                  <a:latin typeface="Source Sans Pro Light" panose="020B0403030403020204" pitchFamily="34" charset="0"/>
                  <a:ea typeface="Source Sans Pro Light" panose="020B0403030403020204" pitchFamily="34" charset="0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600" b="1" dirty="0">
                  <a:latin typeface="Source Sans Pro SemiBold" panose="020B0503030403020204" pitchFamily="34" charset="0"/>
                  <a:ea typeface="Source Sans Pro SemiBold" panose="020B0503030403020204" pitchFamily="34" charset="0"/>
                </a:rPr>
                <a:t>Budget</a:t>
              </a:r>
            </a:p>
          </p:txBody>
        </p:sp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id="{36F61320-C664-9BA1-7BB7-8C3F2C9EF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750613" y="1422420"/>
              <a:ext cx="685800" cy="685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24326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7EB8F3-C245-E3C9-FE69-1BE359914C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49A4795F-34E1-C668-1650-F619960E619A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1"/>
            </p:custDataLst>
          </p:nvPr>
        </p:nvSpPr>
        <p:spPr>
          <a:xfrm>
            <a:off x="601663" y="2576514"/>
            <a:ext cx="5109326" cy="2292349"/>
          </a:xfrm>
        </p:spPr>
        <p:txBody>
          <a:bodyPr/>
          <a:lstStyle/>
          <a:p>
            <a:r>
              <a:rPr lang="en-US" dirty="0"/>
              <a:t>Workshop action</a:t>
            </a:r>
          </a:p>
          <a:p>
            <a:r>
              <a:rPr lang="en-US" sz="7200" dirty="0">
                <a:solidFill>
                  <a:srgbClr val="E30613"/>
                </a:solidFill>
              </a:rPr>
              <a:t>03</a:t>
            </a:r>
            <a:endParaRPr lang="en-US" sz="2000" dirty="0"/>
          </a:p>
          <a:p>
            <a:endParaRPr lang="en-US" sz="1400" dirty="0"/>
          </a:p>
          <a:p>
            <a:r>
              <a:rPr lang="en-US" sz="2000" dirty="0"/>
              <a:t>(3 minute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2CE885-2EB3-6CC1-DDE2-379804B79A9B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6481013" y="2576513"/>
            <a:ext cx="5166475" cy="2292349"/>
          </a:xfrm>
        </p:spPr>
        <p:txBody>
          <a:bodyPr/>
          <a:lstStyle/>
          <a:p>
            <a:r>
              <a:rPr lang="en-US" sz="2000" dirty="0">
                <a:solidFill>
                  <a:srgbClr val="003E51"/>
                </a:solidFill>
              </a:rPr>
              <a:t>Your Comeback Content</a:t>
            </a:r>
          </a:p>
          <a:p>
            <a:endParaRPr lang="en-US" sz="2000" dirty="0">
              <a:solidFill>
                <a:srgbClr val="003E51"/>
              </a:solidFill>
            </a:endParaRPr>
          </a:p>
          <a:p>
            <a:r>
              <a:rPr lang="en-US" dirty="0"/>
              <a:t>Generate three content </a:t>
            </a:r>
          </a:p>
          <a:p>
            <a:r>
              <a:rPr lang="en-US" dirty="0"/>
              <a:t>ideas directly addressing their reason for “No.”</a:t>
            </a:r>
            <a:endParaRPr lang="en-US" sz="3600" b="1" dirty="0">
              <a:solidFill>
                <a:srgbClr val="E3061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682637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59E9DB-2460-5F73-13FE-82E66F45A1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1C82310-A823-85C0-1DB5-6BE8D52C502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5B70C7-FC0D-C376-1ED0-633F3BD8D9C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18C4C9-3C5D-4EE5-A308-CCE8BDBB3F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The Bran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139E1B5-1C70-1C93-2AC9-C59F62A6EE2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12401" y="6332400"/>
            <a:ext cx="699396" cy="29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5371367"/>
      </p:ext>
    </p:extLst>
  </p:cSld>
  <p:clrMapOvr>
    <a:masterClrMapping/>
  </p:clrMapOvr>
  <p:transition spd="slow">
    <p:push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swimming in the water&#10;&#10;AI-generated content may be incorrect.">
            <a:extLst>
              <a:ext uri="{FF2B5EF4-FFF2-40B4-BE49-F238E27FC236}">
                <a16:creationId xmlns:a16="http://schemas.microsoft.com/office/drawing/2014/main" id="{31C4197D-49B1-1921-7874-6502866034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12192002" cy="68580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27D325B-9944-6AEF-6F5B-7FDF49B919F0}"/>
              </a:ext>
            </a:extLst>
          </p:cNvPr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E01532-77AF-A4EC-3749-92A812F9A4E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Your Wh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7276EC-B778-21F7-7345-EF5A1B34512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12401" y="6332400"/>
            <a:ext cx="699396" cy="29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3434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oup of people walking in an office&#10;&#10;AI-generated content may be incorrect.">
            <a:extLst>
              <a:ext uri="{FF2B5EF4-FFF2-40B4-BE49-F238E27FC236}">
                <a16:creationId xmlns:a16="http://schemas.microsoft.com/office/drawing/2014/main" id="{C5ABF9F4-FDD1-5399-686A-40DEC7D5D90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8473" r="21228"/>
          <a:stretch>
            <a:fillRect/>
          </a:stretch>
        </p:blipFill>
        <p:spPr>
          <a:xfrm>
            <a:off x="6059488" y="0"/>
            <a:ext cx="6132508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80EBD05-D079-E4E8-FE24-1BD1E8D28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415926"/>
            <a:ext cx="4344294" cy="1230312"/>
          </a:xfrm>
        </p:spPr>
        <p:txBody>
          <a:bodyPr/>
          <a:lstStyle/>
          <a:p>
            <a:r>
              <a:rPr lang="en-GB" dirty="0"/>
              <a:t>Agenda</a:t>
            </a:r>
            <a:endParaRPr lang="en-US" sz="1800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6FE812-2EAE-D6BE-0002-0BF184C563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1143000"/>
            <a:ext cx="5313362" cy="4094451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b="1" dirty="0"/>
              <a:t>The Reframe: </a:t>
            </a:r>
            <a:r>
              <a:rPr lang="en-US" dirty="0"/>
              <a:t>Viewing “No” as Market Research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/>
              <a:t>The Foundation: </a:t>
            </a:r>
            <a:r>
              <a:rPr lang="en-US" dirty="0"/>
              <a:t>Personas and the Re-Engage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/>
              <a:t>The Strategy: </a:t>
            </a:r>
            <a:r>
              <a:rPr lang="en-US" dirty="0"/>
              <a:t>Crafting Your Comeback Content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/>
              <a:t>The Brand: </a:t>
            </a:r>
            <a:r>
              <a:rPr lang="en-US" dirty="0"/>
              <a:t>Weaving in Your Why</a:t>
            </a:r>
            <a:endParaRPr lang="en-US" b="1" dirty="0"/>
          </a:p>
          <a:p>
            <a:pPr marL="342900" indent="-342900">
              <a:buFont typeface="+mj-lt"/>
              <a:buAutoNum type="arabicPeriod"/>
            </a:pPr>
            <a:r>
              <a:rPr lang="en-US" b="1" dirty="0"/>
              <a:t>The Plan: </a:t>
            </a:r>
            <a:r>
              <a:rPr lang="en-US" dirty="0"/>
              <a:t>Your 30-30-30 Ac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3309EE7-EDDB-D40C-DAF5-0B11135C4A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39839E-58F9-D35C-F5C4-C0A1D71CDDD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12401" y="6332400"/>
            <a:ext cx="699396" cy="29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893032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29DE5D-F0F8-B1A1-AFEE-945A6D850B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EB79E83-A0D5-3F62-F9BA-0B093D563DD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sz="10000" dirty="0"/>
              <a:t>&lt;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0D7F149-187B-F202-3196-D6F319A303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169C1D3D-E16F-AEFE-EA1F-FD6BD10A506A}"/>
              </a:ext>
            </a:extLst>
          </p:cNvPr>
          <p:cNvSpPr txBox="1">
            <a:spLocks/>
          </p:cNvSpPr>
          <p:nvPr/>
        </p:nvSpPr>
        <p:spPr>
          <a:xfrm>
            <a:off x="421668" y="378218"/>
            <a:ext cx="7343775" cy="123031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j-cs"/>
              </a:defRPr>
            </a:lvl1pPr>
          </a:lstStyle>
          <a:p>
            <a:r>
              <a:rPr lang="en-GB" dirty="0"/>
              <a:t>The Brand</a:t>
            </a:r>
            <a:endParaRPr lang="en-US" sz="1800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6E1FB7-DA97-772E-1BC4-E19B26430BF9}"/>
              </a:ext>
            </a:extLst>
          </p:cNvPr>
          <p:cNvSpPr txBox="1">
            <a:spLocks/>
          </p:cNvSpPr>
          <p:nvPr/>
        </p:nvSpPr>
        <p:spPr>
          <a:xfrm>
            <a:off x="1404162" y="3238150"/>
            <a:ext cx="3304026" cy="516727"/>
          </a:xfrm>
          <a:prstGeom prst="rect">
            <a:avLst/>
          </a:prstGeom>
        </p:spPr>
        <p:txBody>
          <a:bodyPr anchor="ctr"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j-cs"/>
              </a:defRPr>
            </a:lvl1pPr>
          </a:lstStyle>
          <a:p>
            <a:pPr algn="r"/>
            <a:r>
              <a:rPr lang="en-GB" sz="2000" dirty="0"/>
              <a:t>Top 5 HVAC Maintenance Tips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2ABE9C0D-5D91-5DF0-D7C1-22FAFC6FFAD5}"/>
              </a:ext>
            </a:extLst>
          </p:cNvPr>
          <p:cNvSpPr txBox="1">
            <a:spLocks/>
          </p:cNvSpPr>
          <p:nvPr/>
        </p:nvSpPr>
        <p:spPr>
          <a:xfrm>
            <a:off x="7508809" y="3238150"/>
            <a:ext cx="3304026" cy="516727"/>
          </a:xfrm>
          <a:prstGeom prst="rect">
            <a:avLst/>
          </a:prstGeom>
        </p:spPr>
        <p:txBody>
          <a:bodyPr anchor="ctr"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j-cs"/>
              </a:defRPr>
            </a:lvl1pPr>
          </a:lstStyle>
          <a:p>
            <a:r>
              <a:rPr lang="en-GB" sz="2000" dirty="0"/>
              <a:t>Top 5 HVAC Maintenance Tips That </a:t>
            </a:r>
            <a:r>
              <a:rPr lang="en-GB" sz="2000" u="sng" dirty="0"/>
              <a:t>Prevent Emergency</a:t>
            </a:r>
            <a:r>
              <a:rPr lang="en-GB" sz="2000" dirty="0"/>
              <a:t> Call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429D86-5C41-F6E3-651D-6C8306FE6315}"/>
              </a:ext>
            </a:extLst>
          </p:cNvPr>
          <p:cNvSpPr txBox="1"/>
          <p:nvPr/>
        </p:nvSpPr>
        <p:spPr>
          <a:xfrm>
            <a:off x="8382000" y="3619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EBFA2-DEE3-F902-738C-B76102B78A5B}"/>
              </a:ext>
            </a:extLst>
          </p:cNvPr>
          <p:cNvSpPr txBox="1"/>
          <p:nvPr/>
        </p:nvSpPr>
        <p:spPr>
          <a:xfrm>
            <a:off x="7899400" y="34417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14996265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BC8E96-6F63-5110-6715-F5F2A2AAC2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034DB70-880B-ED5E-6ECD-5754DF1E13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ED1169-1AC7-47C3-0606-7216E1CFD4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96692" y="1152143"/>
            <a:ext cx="10198616" cy="4648201"/>
          </a:xfrm>
        </p:spPr>
        <p:txBody>
          <a:bodyPr/>
          <a:lstStyle/>
          <a:p>
            <a:pPr algn="ctr"/>
            <a:r>
              <a:rPr lang="en-US" dirty="0"/>
              <a:t>Our brand is </a:t>
            </a:r>
            <a:r>
              <a:rPr lang="en-US" u="sng" dirty="0"/>
              <a:t>AI-first</a:t>
            </a:r>
            <a:r>
              <a:rPr lang="en-US" dirty="0"/>
              <a:t> has been </a:t>
            </a:r>
            <a:r>
              <a:rPr lang="en-US" u="sng" dirty="0"/>
              <a:t>trusted for centuries</a:t>
            </a:r>
            <a:r>
              <a:rPr lang="en-US" dirty="0"/>
              <a:t>, and always </a:t>
            </a:r>
            <a:r>
              <a:rPr lang="en-US" u="sng" dirty="0"/>
              <a:t>delivers seamless results</a:t>
            </a:r>
            <a:r>
              <a:rPr lang="en-US" dirty="0"/>
              <a:t> for our customers. 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461329BE-DB30-180A-91FA-4BC6EE4F2188}"/>
              </a:ext>
            </a:extLst>
          </p:cNvPr>
          <p:cNvSpPr txBox="1">
            <a:spLocks/>
          </p:cNvSpPr>
          <p:nvPr/>
        </p:nvSpPr>
        <p:spPr>
          <a:xfrm>
            <a:off x="421668" y="378218"/>
            <a:ext cx="7343775" cy="123031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j-cs"/>
              </a:defRPr>
            </a:lvl1pPr>
          </a:lstStyle>
          <a:p>
            <a:r>
              <a:rPr lang="en-GB" dirty="0"/>
              <a:t>The Brand</a:t>
            </a:r>
            <a:endParaRPr lang="en-US" sz="1800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9572076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BC8E96-6F63-5110-6715-F5F2A2AAC2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034DB70-880B-ED5E-6ECD-5754DF1E13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ED1169-1AC7-47C3-0606-7216E1CFD4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Our brand is (</a:t>
            </a:r>
            <a:r>
              <a:rPr lang="en-US" u="sng" dirty="0"/>
              <a:t>adjective</a:t>
            </a:r>
            <a:r>
              <a:rPr lang="en-US" dirty="0"/>
              <a:t>)</a:t>
            </a:r>
            <a:br>
              <a:rPr lang="en-US" dirty="0"/>
            </a:br>
            <a:r>
              <a:rPr lang="en-US" dirty="0"/>
              <a:t>and (</a:t>
            </a:r>
            <a:r>
              <a:rPr lang="en-US" u="sng" dirty="0"/>
              <a:t>adjective</a:t>
            </a:r>
            <a:r>
              <a:rPr lang="en-US" dirty="0"/>
              <a:t>), </a:t>
            </a:r>
            <a:br>
              <a:rPr lang="en-US" dirty="0"/>
            </a:br>
            <a:r>
              <a:rPr lang="en-US" dirty="0"/>
              <a:t>and always (</a:t>
            </a:r>
            <a:r>
              <a:rPr lang="en-US" u="sng" dirty="0"/>
              <a:t>verb</a:t>
            </a:r>
            <a:r>
              <a:rPr lang="en-US" dirty="0"/>
              <a:t>) </a:t>
            </a:r>
            <a:br>
              <a:rPr lang="en-US" dirty="0"/>
            </a:br>
            <a:r>
              <a:rPr lang="en-US" dirty="0"/>
              <a:t>for our customers. 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461329BE-DB30-180A-91FA-4BC6EE4F2188}"/>
              </a:ext>
            </a:extLst>
          </p:cNvPr>
          <p:cNvSpPr txBox="1">
            <a:spLocks/>
          </p:cNvSpPr>
          <p:nvPr/>
        </p:nvSpPr>
        <p:spPr>
          <a:xfrm>
            <a:off x="421668" y="378218"/>
            <a:ext cx="7343775" cy="123031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j-cs"/>
              </a:defRPr>
            </a:lvl1pPr>
          </a:lstStyle>
          <a:p>
            <a:r>
              <a:rPr lang="en-GB" dirty="0"/>
              <a:t>The Brand</a:t>
            </a:r>
            <a:endParaRPr lang="en-US" sz="1800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7808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29DE5D-F0F8-B1A1-AFEE-945A6D850B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EB79E83-A0D5-3F62-F9BA-0B093D563DD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80 / 20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0D7F149-187B-F202-3196-D6F319A303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169C1D3D-E16F-AEFE-EA1F-FD6BD10A506A}"/>
              </a:ext>
            </a:extLst>
          </p:cNvPr>
          <p:cNvSpPr txBox="1">
            <a:spLocks/>
          </p:cNvSpPr>
          <p:nvPr/>
        </p:nvSpPr>
        <p:spPr>
          <a:xfrm>
            <a:off x="421668" y="378218"/>
            <a:ext cx="7343775" cy="123031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j-cs"/>
              </a:defRPr>
            </a:lvl1pPr>
          </a:lstStyle>
          <a:p>
            <a:r>
              <a:rPr lang="en-GB" dirty="0"/>
              <a:t>The Brand</a:t>
            </a:r>
            <a:endParaRPr lang="en-US" sz="1800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6E1FB7-DA97-772E-1BC4-E19B26430BF9}"/>
              </a:ext>
            </a:extLst>
          </p:cNvPr>
          <p:cNvSpPr txBox="1">
            <a:spLocks/>
          </p:cNvSpPr>
          <p:nvPr/>
        </p:nvSpPr>
        <p:spPr>
          <a:xfrm>
            <a:off x="1404162" y="3238150"/>
            <a:ext cx="3304026" cy="516727"/>
          </a:xfrm>
          <a:prstGeom prst="rect">
            <a:avLst/>
          </a:prstGeom>
        </p:spPr>
        <p:txBody>
          <a:bodyPr anchor="ctr"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j-cs"/>
              </a:defRPr>
            </a:lvl1pPr>
          </a:lstStyle>
          <a:p>
            <a:pPr algn="r"/>
            <a:r>
              <a:rPr lang="en-GB" sz="2000" dirty="0"/>
              <a:t>Genuinely valuable</a:t>
            </a:r>
            <a:endParaRPr lang="en-US" sz="2000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2ABE9C0D-5D91-5DF0-D7C1-22FAFC6FFAD5}"/>
              </a:ext>
            </a:extLst>
          </p:cNvPr>
          <p:cNvSpPr txBox="1">
            <a:spLocks/>
          </p:cNvSpPr>
          <p:nvPr/>
        </p:nvSpPr>
        <p:spPr>
          <a:xfrm>
            <a:off x="7508809" y="3238150"/>
            <a:ext cx="3304026" cy="516727"/>
          </a:xfrm>
          <a:prstGeom prst="rect">
            <a:avLst/>
          </a:prstGeom>
        </p:spPr>
        <p:txBody>
          <a:bodyPr anchor="ctr"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j-cs"/>
              </a:defRPr>
            </a:lvl1pPr>
          </a:lstStyle>
          <a:p>
            <a:r>
              <a:rPr lang="en-GB" sz="2000" dirty="0"/>
              <a:t>Brand differentiator</a:t>
            </a:r>
            <a:endParaRPr lang="en-US" sz="2000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429D86-5C41-F6E3-651D-6C8306FE6315}"/>
              </a:ext>
            </a:extLst>
          </p:cNvPr>
          <p:cNvSpPr txBox="1"/>
          <p:nvPr/>
        </p:nvSpPr>
        <p:spPr>
          <a:xfrm>
            <a:off x="8382000" y="3619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EBFA2-DEE3-F902-738C-B76102B78A5B}"/>
              </a:ext>
            </a:extLst>
          </p:cNvPr>
          <p:cNvSpPr txBox="1"/>
          <p:nvPr/>
        </p:nvSpPr>
        <p:spPr>
          <a:xfrm>
            <a:off x="7899400" y="34417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7243380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46202E-C90F-C746-35A6-46475AC313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D02CD43D-4097-6B66-2B3B-D846E0CF86BA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1"/>
            </p:custDataLst>
          </p:nvPr>
        </p:nvSpPr>
        <p:spPr>
          <a:xfrm>
            <a:off x="601663" y="2576514"/>
            <a:ext cx="5109326" cy="2292349"/>
          </a:xfrm>
        </p:spPr>
        <p:txBody>
          <a:bodyPr/>
          <a:lstStyle/>
          <a:p>
            <a:r>
              <a:rPr lang="en-US" dirty="0"/>
              <a:t>Workshop action</a:t>
            </a:r>
          </a:p>
          <a:p>
            <a:r>
              <a:rPr lang="en-US" sz="7200" dirty="0">
                <a:solidFill>
                  <a:srgbClr val="E30613"/>
                </a:solidFill>
              </a:rPr>
              <a:t>04</a:t>
            </a:r>
            <a:endParaRPr lang="en-US" sz="2000" dirty="0"/>
          </a:p>
          <a:p>
            <a:endParaRPr lang="en-US" sz="1400" dirty="0"/>
          </a:p>
          <a:p>
            <a:r>
              <a:rPr lang="en-US" sz="2000" dirty="0"/>
              <a:t>(2 minute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8F2BFE-D6B3-8AB4-1505-4B2FEFB176A6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6481013" y="2576513"/>
            <a:ext cx="5166475" cy="2292349"/>
          </a:xfrm>
        </p:spPr>
        <p:txBody>
          <a:bodyPr/>
          <a:lstStyle/>
          <a:p>
            <a:r>
              <a:rPr lang="en-US" sz="2000" dirty="0">
                <a:solidFill>
                  <a:srgbClr val="003E51"/>
                </a:solidFill>
              </a:rPr>
              <a:t>Embed Your Brand</a:t>
            </a:r>
          </a:p>
          <a:p>
            <a:endParaRPr lang="en-US" sz="2000" dirty="0">
              <a:solidFill>
                <a:srgbClr val="003E51"/>
              </a:solidFill>
            </a:endParaRPr>
          </a:p>
          <a:p>
            <a:r>
              <a:rPr lang="en-US" sz="3600" b="1" dirty="0">
                <a:solidFill>
                  <a:srgbClr val="E30613"/>
                </a:solidFill>
              </a:rPr>
              <a:t>Integrate your </a:t>
            </a:r>
          </a:p>
          <a:p>
            <a:r>
              <a:rPr lang="en-US" sz="3600" b="1" dirty="0">
                <a:solidFill>
                  <a:srgbClr val="E30613"/>
                </a:solidFill>
              </a:rPr>
              <a:t>brand personality into </a:t>
            </a:r>
          </a:p>
          <a:p>
            <a:r>
              <a:rPr lang="en-US" dirty="0"/>
              <a:t>one</a:t>
            </a:r>
            <a:r>
              <a:rPr lang="en-US" sz="3600" b="1" dirty="0">
                <a:solidFill>
                  <a:srgbClr val="E30613"/>
                </a:solidFill>
              </a:rPr>
              <a:t> content idea</a:t>
            </a:r>
            <a:r>
              <a:rPr lang="en-US" dirty="0"/>
              <a:t>.</a:t>
            </a:r>
            <a:endParaRPr lang="en-US" sz="3600" b="1" dirty="0">
              <a:solidFill>
                <a:srgbClr val="E30613"/>
              </a:solidFill>
            </a:endParaRP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D8E31D12-A288-D838-CC6B-2D58CB79E8F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23073" y="615159"/>
            <a:ext cx="5166475" cy="2292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 i="0" kern="1200">
                <a:solidFill>
                  <a:srgbClr val="E3061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Times New Roman" charset="0"/>
              </a:defRPr>
            </a:lvl1pPr>
            <a:lvl2pPr marL="180975" indent="-180975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600" b="1" i="0" kern="1200">
                <a:solidFill>
                  <a:srgbClr val="E3061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n-cs"/>
              </a:defRPr>
            </a:lvl2pPr>
            <a:lvl3pPr marL="361950" indent="-179388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i="0" kern="12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n-cs"/>
              </a:defRPr>
            </a:lvl3pPr>
            <a:lvl4pPr marL="540000" indent="-18000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.HelveticaNeueDeskInterface-Regular" charset="-120"/>
              <a:buChar char="–"/>
              <a:defRPr sz="1400" i="0" kern="12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n-cs"/>
              </a:defRPr>
            </a:lvl4pPr>
            <a:lvl5pPr marL="720000" indent="-18000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.HelveticaNeueDeskInterface-Regular" charset="-120"/>
              <a:buChar char="–"/>
              <a:defRPr sz="1400" i="0" kern="12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Top 5 HVAC Maintenance Tip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D2FBB05-0A6B-1570-AAEE-4CF2B983377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501086" y="615159"/>
            <a:ext cx="5166475" cy="6728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600" b="1" i="0" kern="1200">
                <a:solidFill>
                  <a:srgbClr val="E3061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Times New Roman" charset="0"/>
              </a:defRPr>
            </a:lvl1pPr>
            <a:lvl2pPr marL="180975" indent="-180975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600" b="1" i="0" kern="1200">
                <a:solidFill>
                  <a:srgbClr val="E3061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n-cs"/>
              </a:defRPr>
            </a:lvl2pPr>
            <a:lvl3pPr marL="361950" indent="-179388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i="0" kern="12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n-cs"/>
              </a:defRPr>
            </a:lvl3pPr>
            <a:lvl4pPr marL="540000" indent="-18000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.HelveticaNeueDeskInterface-Regular" charset="-120"/>
              <a:buChar char="–"/>
              <a:defRPr sz="1400" i="0" kern="12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n-cs"/>
              </a:defRPr>
            </a:lvl4pPr>
            <a:lvl5pPr marL="720000" indent="-18000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.HelveticaNeueDeskInterface-Regular" charset="-120"/>
              <a:buChar char="–"/>
              <a:defRPr sz="1400" i="0" kern="12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Top 5 HVAC Maintenance Tips That </a:t>
            </a:r>
            <a:r>
              <a:rPr lang="en-US" sz="2000" u="sng" dirty="0">
                <a:solidFill>
                  <a:schemeClr val="bg1">
                    <a:lumMod val="50000"/>
                  </a:schemeClr>
                </a:solidFill>
              </a:rPr>
              <a:t>Prevent Emergency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Calls</a:t>
            </a:r>
          </a:p>
        </p:txBody>
      </p:sp>
    </p:spTree>
    <p:extLst>
      <p:ext uri="{BB962C8B-B14F-4D97-AF65-F5344CB8AC3E}">
        <p14:creationId xmlns:p14="http://schemas.microsoft.com/office/powerpoint/2010/main" val="1135124674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70B071-1A58-33E1-8D34-327B24A0D6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13DE29C-03FA-FDBA-A539-B4B8065A7BD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291288D-C5EB-2EB1-A730-5DC309A0DE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983B58-E7A2-6FFD-5A36-1ACD66FD5A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The Pla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E33591-E258-06B2-3C1F-4530C8697BB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12401" y="6332400"/>
            <a:ext cx="699396" cy="29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00491"/>
      </p:ext>
    </p:extLst>
  </p:cSld>
  <p:clrMapOvr>
    <a:masterClrMapping/>
  </p:clrMapOvr>
  <p:transition spd="slow">
    <p:push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944B1C3-1F23-AA93-433E-78095A27707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27D325B-9944-6AEF-6F5B-7FDF49B919F0}"/>
              </a:ext>
            </a:extLst>
          </p:cNvPr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E01532-77AF-A4EC-3749-92A812F9A4E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The Ac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D0A7A36-DD29-0D39-8689-C06C3E607F5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12401" y="6332400"/>
            <a:ext cx="699396" cy="29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6163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C5B82F-A1CA-2FDA-64B6-1EB2594013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F2E4EB2-8232-A002-8DDB-0CEEA086E2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8EF67E50-2693-4638-72AF-773B247FF825}"/>
              </a:ext>
            </a:extLst>
          </p:cNvPr>
          <p:cNvSpPr txBox="1">
            <a:spLocks/>
          </p:cNvSpPr>
          <p:nvPr/>
        </p:nvSpPr>
        <p:spPr>
          <a:xfrm>
            <a:off x="421668" y="378218"/>
            <a:ext cx="7343775" cy="123031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j-cs"/>
              </a:defRPr>
            </a:lvl1pPr>
          </a:lstStyle>
          <a:p>
            <a:r>
              <a:rPr lang="en-GB" dirty="0"/>
              <a:t>The Plan</a:t>
            </a:r>
            <a:endParaRPr lang="en-US" sz="1800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B86153A-BFF0-471A-4415-6DC68D8090CD}"/>
              </a:ext>
            </a:extLst>
          </p:cNvPr>
          <p:cNvGrpSpPr/>
          <p:nvPr/>
        </p:nvGrpSpPr>
        <p:grpSpPr>
          <a:xfrm>
            <a:off x="523073" y="2404150"/>
            <a:ext cx="3555306" cy="2139507"/>
            <a:chOff x="523073" y="2404150"/>
            <a:chExt cx="3555306" cy="213950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5FED28C-6D5D-42EB-3680-7B093265BB29}"/>
                </a:ext>
              </a:extLst>
            </p:cNvPr>
            <p:cNvSpPr/>
            <p:nvPr/>
          </p:nvSpPr>
          <p:spPr>
            <a:xfrm>
              <a:off x="533400" y="2984124"/>
              <a:ext cx="3544979" cy="1559533"/>
            </a:xfrm>
            <a:prstGeom prst="rect">
              <a:avLst/>
            </a:prstGeom>
            <a:solidFill>
              <a:srgbClr val="E5F3F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R="0" lvl="0" indent="0" fontAlgn="auto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None/>
                <a:tabLst/>
              </a:pPr>
              <a:endParaRPr lang="en-US" sz="1400" kern="0" noProof="0"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5" name="Shape 19509">
              <a:extLst>
                <a:ext uri="{FF2B5EF4-FFF2-40B4-BE49-F238E27FC236}">
                  <a16:creationId xmlns:a16="http://schemas.microsoft.com/office/drawing/2014/main" id="{4A866A6A-5C7D-4165-5A64-6EFE341761FD}"/>
                </a:ext>
              </a:extLst>
            </p:cNvPr>
            <p:cNvSpPr/>
            <p:nvPr/>
          </p:nvSpPr>
          <p:spPr>
            <a:xfrm>
              <a:off x="1904130" y="2404150"/>
              <a:ext cx="793402" cy="793402"/>
            </a:xfrm>
            <a:prstGeom prst="ellipse">
              <a:avLst/>
            </a:prstGeom>
            <a:solidFill>
              <a:srgbClr val="E5F3F6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42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4A38B1B-2F72-5603-B55C-18BD88522A59}"/>
                </a:ext>
              </a:extLst>
            </p:cNvPr>
            <p:cNvSpPr txBox="1"/>
            <p:nvPr/>
          </p:nvSpPr>
          <p:spPr>
            <a:xfrm>
              <a:off x="523073" y="3642833"/>
              <a:ext cx="3544978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u="none" strike="noStrike" kern="1200" cap="none" spc="0" normalizeH="0" baseline="0" noProof="0" dirty="0">
                  <a:ln>
                    <a:noFill/>
                  </a:ln>
                  <a:solidFill>
                    <a:srgbClr val="131E29"/>
                  </a:solidFill>
                  <a:effectLst/>
                  <a:uLnTx/>
                  <a:uFillTx/>
                  <a:latin typeface="Source Sans Pro Light" panose="020B0403030403020204" pitchFamily="34" charset="0"/>
                  <a:ea typeface="Source Sans Pro Light" panose="020B0403030403020204" pitchFamily="34" charset="0"/>
                  <a:cs typeface="Poppins" pitchFamily="2" charset="77"/>
                </a:rPr>
                <a:t>Rejection Data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4B30A10-FE18-9F6D-ABCC-65C8A6297C84}"/>
                </a:ext>
              </a:extLst>
            </p:cNvPr>
            <p:cNvSpPr txBox="1"/>
            <p:nvPr/>
          </p:nvSpPr>
          <p:spPr>
            <a:xfrm>
              <a:off x="1904130" y="2600796"/>
              <a:ext cx="793402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u="none" strike="noStrike" kern="1200" cap="none" spc="0" normalizeH="0" baseline="0" noProof="0" dirty="0">
                  <a:ln>
                    <a:noFill/>
                  </a:ln>
                  <a:solidFill>
                    <a:srgbClr val="131E29"/>
                  </a:solidFill>
                  <a:effectLst/>
                  <a:uLnTx/>
                  <a:uFillTx/>
                  <a:latin typeface="Source Sans Pro SemiBold" panose="020B0503030403020204" pitchFamily="34" charset="0"/>
                  <a:ea typeface="Source Sans Pro SemiBold" panose="020B0503030403020204" pitchFamily="34" charset="0"/>
                  <a:cs typeface="Poppins" pitchFamily="2" charset="77"/>
                </a:rPr>
                <a:t>30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49313FC-398F-84FA-47C5-5F92E118E9A5}"/>
              </a:ext>
            </a:extLst>
          </p:cNvPr>
          <p:cNvGrpSpPr/>
          <p:nvPr/>
        </p:nvGrpSpPr>
        <p:grpSpPr>
          <a:xfrm>
            <a:off x="4323177" y="2404150"/>
            <a:ext cx="3547884" cy="2139507"/>
            <a:chOff x="4323177" y="2404150"/>
            <a:chExt cx="3547884" cy="2139507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4466090-EEAA-B79B-30C2-12C006A9B146}"/>
                </a:ext>
              </a:extLst>
            </p:cNvPr>
            <p:cNvSpPr/>
            <p:nvPr/>
          </p:nvSpPr>
          <p:spPr>
            <a:xfrm>
              <a:off x="4326082" y="2984124"/>
              <a:ext cx="3544979" cy="1559533"/>
            </a:xfrm>
            <a:prstGeom prst="rect">
              <a:avLst/>
            </a:prstGeom>
            <a:solidFill>
              <a:srgbClr val="D1E8E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R="0" lvl="0" indent="0" fontAlgn="auto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None/>
                <a:tabLst/>
              </a:pPr>
              <a:endParaRPr lang="en-US" sz="1400" kern="0" noProof="0"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10" name="Shape 19509">
              <a:extLst>
                <a:ext uri="{FF2B5EF4-FFF2-40B4-BE49-F238E27FC236}">
                  <a16:creationId xmlns:a16="http://schemas.microsoft.com/office/drawing/2014/main" id="{31B742EE-590C-5890-373B-0CC1173241C0}"/>
                </a:ext>
              </a:extLst>
            </p:cNvPr>
            <p:cNvSpPr/>
            <p:nvPr/>
          </p:nvSpPr>
          <p:spPr>
            <a:xfrm>
              <a:off x="5696812" y="2404150"/>
              <a:ext cx="793402" cy="793402"/>
            </a:xfrm>
            <a:prstGeom prst="ellipse">
              <a:avLst/>
            </a:prstGeom>
            <a:solidFill>
              <a:srgbClr val="D1E8ED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42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C79B2E8-345B-BEFC-3478-F2BCCCF8D102}"/>
                </a:ext>
              </a:extLst>
            </p:cNvPr>
            <p:cNvSpPr txBox="1"/>
            <p:nvPr/>
          </p:nvSpPr>
          <p:spPr>
            <a:xfrm>
              <a:off x="4323177" y="3642833"/>
              <a:ext cx="3544978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u="none" strike="noStrike" kern="1200" cap="none" spc="0" normalizeH="0" baseline="0" noProof="0" dirty="0">
                  <a:ln>
                    <a:noFill/>
                  </a:ln>
                  <a:solidFill>
                    <a:srgbClr val="131E29"/>
                  </a:solidFill>
                  <a:effectLst/>
                  <a:uLnTx/>
                  <a:uFillTx/>
                  <a:latin typeface="Source Sans Pro Light" panose="020B0403030403020204" pitchFamily="34" charset="0"/>
                  <a:ea typeface="Source Sans Pro Light" panose="020B0403030403020204" pitchFamily="34" charset="0"/>
                  <a:cs typeface="Poppins" pitchFamily="2" charset="77"/>
                </a:rPr>
                <a:t>Comeback Content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25A78C4-C003-B9B1-A582-631160C591A9}"/>
                </a:ext>
              </a:extLst>
            </p:cNvPr>
            <p:cNvSpPr txBox="1"/>
            <p:nvPr/>
          </p:nvSpPr>
          <p:spPr>
            <a:xfrm>
              <a:off x="5704234" y="2600796"/>
              <a:ext cx="793402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dirty="0">
                  <a:solidFill>
                    <a:srgbClr val="131E29"/>
                  </a:solidFill>
                  <a:latin typeface="Source Sans Pro SemiBold" panose="020B0503030403020204" pitchFamily="34" charset="0"/>
                  <a:ea typeface="Source Sans Pro SemiBold" panose="020B0503030403020204" pitchFamily="34" charset="0"/>
                  <a:cs typeface="Poppins" pitchFamily="2" charset="77"/>
                </a:rPr>
                <a:t>30</a:t>
              </a:r>
              <a:endParaRPr kumimoji="0" lang="en-US" sz="2000" b="1" u="none" strike="noStrike" kern="1200" cap="none" spc="0" normalizeH="0" baseline="0" noProof="0" dirty="0">
                <a:ln>
                  <a:noFill/>
                </a:ln>
                <a:solidFill>
                  <a:srgbClr val="131E29"/>
                </a:solidFill>
                <a:effectLst/>
                <a:uLnTx/>
                <a:uFillTx/>
                <a:latin typeface="Source Sans Pro SemiBold" panose="020B0503030403020204" pitchFamily="34" charset="0"/>
                <a:ea typeface="Source Sans Pro SemiBold" panose="020B0503030403020204" pitchFamily="34" charset="0"/>
                <a:cs typeface="Poppins" pitchFamily="2" charset="77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9A0C676-FB3B-EC5A-99D0-114DE73660CA}"/>
              </a:ext>
            </a:extLst>
          </p:cNvPr>
          <p:cNvGrpSpPr/>
          <p:nvPr/>
        </p:nvGrpSpPr>
        <p:grpSpPr>
          <a:xfrm>
            <a:off x="8118764" y="2404150"/>
            <a:ext cx="3549495" cy="2139507"/>
            <a:chOff x="8118764" y="2404150"/>
            <a:chExt cx="3549495" cy="21395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56681F7-B2C2-99E6-A2AB-F7ADE35ED842}"/>
                </a:ext>
              </a:extLst>
            </p:cNvPr>
            <p:cNvSpPr/>
            <p:nvPr/>
          </p:nvSpPr>
          <p:spPr>
            <a:xfrm>
              <a:off x="8118764" y="2984124"/>
              <a:ext cx="3544979" cy="1559533"/>
            </a:xfrm>
            <a:prstGeom prst="rect">
              <a:avLst/>
            </a:prstGeom>
            <a:solidFill>
              <a:srgbClr val="BCDEE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R="0" lvl="0" indent="0" fontAlgn="auto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None/>
                <a:tabLst/>
              </a:pPr>
              <a:endParaRPr lang="en-US" sz="1400" kern="0" noProof="0" dirty="0"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13" name="Shape 19509">
              <a:extLst>
                <a:ext uri="{FF2B5EF4-FFF2-40B4-BE49-F238E27FC236}">
                  <a16:creationId xmlns:a16="http://schemas.microsoft.com/office/drawing/2014/main" id="{0B70A16D-8A5E-EB62-83E3-E9B3D08E1653}"/>
                </a:ext>
              </a:extLst>
            </p:cNvPr>
            <p:cNvSpPr/>
            <p:nvPr/>
          </p:nvSpPr>
          <p:spPr>
            <a:xfrm>
              <a:off x="9489494" y="2404150"/>
              <a:ext cx="793402" cy="793402"/>
            </a:xfrm>
            <a:prstGeom prst="ellipse">
              <a:avLst/>
            </a:prstGeom>
            <a:solidFill>
              <a:srgbClr val="BCDEE6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42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3C0D959-D65C-58AD-845F-EEFBE195C879}"/>
                </a:ext>
              </a:extLst>
            </p:cNvPr>
            <p:cNvSpPr txBox="1"/>
            <p:nvPr/>
          </p:nvSpPr>
          <p:spPr>
            <a:xfrm>
              <a:off x="8123281" y="3642833"/>
              <a:ext cx="3544978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u="none" strike="noStrike" kern="1200" cap="none" spc="0" normalizeH="0" baseline="0" noProof="0" dirty="0">
                  <a:ln>
                    <a:noFill/>
                  </a:ln>
                  <a:solidFill>
                    <a:srgbClr val="131E29"/>
                  </a:solidFill>
                  <a:effectLst/>
                  <a:uLnTx/>
                  <a:uFillTx/>
                  <a:latin typeface="Source Sans Pro Light" panose="020B0403030403020204" pitchFamily="34" charset="0"/>
                  <a:ea typeface="Source Sans Pro Light" panose="020B0403030403020204" pitchFamily="34" charset="0"/>
                  <a:cs typeface="Poppins" pitchFamily="2" charset="77"/>
                </a:rPr>
                <a:t>Re-Engage Activation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06FA1A7-86E6-70A2-57EC-807A3B46983E}"/>
                </a:ext>
              </a:extLst>
            </p:cNvPr>
            <p:cNvSpPr txBox="1"/>
            <p:nvPr/>
          </p:nvSpPr>
          <p:spPr>
            <a:xfrm>
              <a:off x="9504338" y="2600796"/>
              <a:ext cx="793402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dirty="0">
                  <a:solidFill>
                    <a:srgbClr val="131E29"/>
                  </a:solidFill>
                  <a:latin typeface="Source Sans Pro SemiBold" panose="020B0503030403020204" pitchFamily="34" charset="0"/>
                  <a:ea typeface="Source Sans Pro SemiBold" panose="020B0503030403020204" pitchFamily="34" charset="0"/>
                  <a:cs typeface="Poppins" pitchFamily="2" charset="77"/>
                </a:rPr>
                <a:t>30</a:t>
              </a:r>
              <a:endParaRPr kumimoji="0" lang="en-US" sz="2000" b="1" u="none" strike="noStrike" kern="1200" cap="none" spc="0" normalizeH="0" baseline="0" noProof="0" dirty="0">
                <a:ln>
                  <a:noFill/>
                </a:ln>
                <a:solidFill>
                  <a:srgbClr val="131E29"/>
                </a:solidFill>
                <a:effectLst/>
                <a:uLnTx/>
                <a:uFillTx/>
                <a:latin typeface="Source Sans Pro SemiBold" panose="020B0503030403020204" pitchFamily="34" charset="0"/>
                <a:ea typeface="Source Sans Pro SemiBold" panose="020B0503030403020204" pitchFamily="34" charset="0"/>
                <a:cs typeface="Poppins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383716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CB29DF7-A7F5-136E-7233-7160C7ABBE5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15939" y="3088482"/>
            <a:ext cx="11131550" cy="681037"/>
          </a:xfrm>
        </p:spPr>
        <p:txBody>
          <a:bodyPr anchor="ctr"/>
          <a:lstStyle/>
          <a:p>
            <a:r>
              <a:rPr lang="en-US" sz="6000" dirty="0">
                <a:solidFill>
                  <a:schemeClr val="bg1"/>
                </a:solidFill>
              </a:rPr>
              <a:t>Thank you</a:t>
            </a:r>
            <a:endParaRPr lang="en-GB" sz="6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37764"/>
      </p:ext>
    </p:extLst>
  </p:cSld>
  <p:clrMapOvr>
    <a:masterClrMapping/>
  </p:clrMapOvr>
  <p:transition spd="slow">
    <p:push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B5ABBB-0F9E-C6C5-47EB-02DEC38CC44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B50441A-C97E-81A1-5136-83CA46C549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E01532-77AF-A4EC-3749-92A812F9A4E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The Refr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994E04E-E4EF-9376-FFD7-EE5AC21758B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12401" y="6332400"/>
            <a:ext cx="699396" cy="29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877188"/>
      </p:ext>
    </p:extLst>
  </p:cSld>
  <p:clrMapOvr>
    <a:masterClrMapping/>
  </p:clrMapOvr>
  <p:transition spd="slow">
    <p:push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unset over a mountain&#10;&#10;AI-generated content may be incorrect.">
            <a:extLst>
              <a:ext uri="{FF2B5EF4-FFF2-40B4-BE49-F238E27FC236}">
                <a16:creationId xmlns:a16="http://schemas.microsoft.com/office/drawing/2014/main" id="{68590146-BE77-C49A-D09A-DAF13392CA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27D325B-9944-6AEF-6F5B-7FDF49B919F0}"/>
              </a:ext>
            </a:extLst>
          </p:cNvPr>
          <p:cNvSpPr/>
          <p:nvPr/>
        </p:nvSpPr>
        <p:spPr>
          <a:xfrm>
            <a:off x="9123" y="-1"/>
            <a:ext cx="12192000" cy="6858000"/>
          </a:xfrm>
          <a:prstGeom prst="rect">
            <a:avLst/>
          </a:prstGeom>
          <a:solidFill>
            <a:schemeClr val="tx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B50441A-C97E-81A1-5136-83CA46C549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E01532-77AF-A4EC-3749-92A812F9A4E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The Why</a:t>
            </a:r>
          </a:p>
        </p:txBody>
      </p:sp>
    </p:spTree>
    <p:extLst>
      <p:ext uri="{BB962C8B-B14F-4D97-AF65-F5344CB8AC3E}">
        <p14:creationId xmlns:p14="http://schemas.microsoft.com/office/powerpoint/2010/main" val="30414540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B50441A-C97E-81A1-5136-83CA46C549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BE6D4FCD-CCEF-4807-1885-8196B651BAEA}"/>
              </a:ext>
            </a:extLst>
          </p:cNvPr>
          <p:cNvSpPr txBox="1">
            <a:spLocks/>
          </p:cNvSpPr>
          <p:nvPr/>
        </p:nvSpPr>
        <p:spPr>
          <a:xfrm>
            <a:off x="421668" y="378218"/>
            <a:ext cx="7343775" cy="123031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j-cs"/>
              </a:defRPr>
            </a:lvl1pPr>
          </a:lstStyle>
          <a:p>
            <a:r>
              <a:rPr lang="en-GB"/>
              <a:t>The Reframe</a:t>
            </a:r>
            <a:endParaRPr lang="en-US" sz="1800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B8F638C-7D06-0437-7667-4E7BD1812D98}"/>
              </a:ext>
            </a:extLst>
          </p:cNvPr>
          <p:cNvGrpSpPr/>
          <p:nvPr/>
        </p:nvGrpSpPr>
        <p:grpSpPr>
          <a:xfrm>
            <a:off x="523073" y="2404150"/>
            <a:ext cx="3555306" cy="2139507"/>
            <a:chOff x="523073" y="2404150"/>
            <a:chExt cx="3555306" cy="2139507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6ED48A8-60FB-370D-8967-00847B059DB8}"/>
                </a:ext>
              </a:extLst>
            </p:cNvPr>
            <p:cNvSpPr/>
            <p:nvPr/>
          </p:nvSpPr>
          <p:spPr>
            <a:xfrm>
              <a:off x="533400" y="2984124"/>
              <a:ext cx="3544979" cy="1559533"/>
            </a:xfrm>
            <a:prstGeom prst="rect">
              <a:avLst/>
            </a:prstGeom>
            <a:solidFill>
              <a:srgbClr val="E5F3F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R="0" lvl="0" indent="0" fontAlgn="auto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None/>
                <a:tabLst/>
              </a:pPr>
              <a:endParaRPr lang="en-US" sz="1400" kern="0" noProof="0"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33" name="Shape 19509">
              <a:extLst>
                <a:ext uri="{FF2B5EF4-FFF2-40B4-BE49-F238E27FC236}">
                  <a16:creationId xmlns:a16="http://schemas.microsoft.com/office/drawing/2014/main" id="{C2500DF4-FEDA-E81E-D02B-490366D81DB0}"/>
                </a:ext>
              </a:extLst>
            </p:cNvPr>
            <p:cNvSpPr/>
            <p:nvPr/>
          </p:nvSpPr>
          <p:spPr>
            <a:xfrm>
              <a:off x="1904130" y="2404150"/>
              <a:ext cx="793402" cy="793402"/>
            </a:xfrm>
            <a:prstGeom prst="ellipse">
              <a:avLst/>
            </a:prstGeom>
            <a:solidFill>
              <a:srgbClr val="E5F3F6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42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82778C89-7AF0-9C36-DD0E-15B57C7F2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57931" y="2457951"/>
              <a:ext cx="685800" cy="685800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2D65E952-5914-C26B-D44B-BCD9F978C444}"/>
                </a:ext>
              </a:extLst>
            </p:cNvPr>
            <p:cNvSpPr txBox="1"/>
            <p:nvPr/>
          </p:nvSpPr>
          <p:spPr>
            <a:xfrm>
              <a:off x="523073" y="3642833"/>
              <a:ext cx="3544978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u="none" strike="noStrike" kern="1200" cap="none" spc="0" normalizeH="0" baseline="0" noProof="0" dirty="0">
                  <a:ln>
                    <a:noFill/>
                  </a:ln>
                  <a:solidFill>
                    <a:srgbClr val="131E29"/>
                  </a:solidFill>
                  <a:effectLst/>
                  <a:uLnTx/>
                  <a:uFillTx/>
                  <a:latin typeface="Source Sans Pro Light" panose="020B0403030403020204" pitchFamily="34" charset="0"/>
                  <a:ea typeface="Source Sans Pro Light" panose="020B0403030403020204" pitchFamily="34" charset="0"/>
                  <a:cs typeface="Poppins" pitchFamily="2" charset="77"/>
                </a:rPr>
                <a:t>Timing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C5013DF-762B-6ABC-C26D-F596CB3119F0}"/>
              </a:ext>
            </a:extLst>
          </p:cNvPr>
          <p:cNvGrpSpPr/>
          <p:nvPr/>
        </p:nvGrpSpPr>
        <p:grpSpPr>
          <a:xfrm>
            <a:off x="4325816" y="2404150"/>
            <a:ext cx="3545245" cy="2139507"/>
            <a:chOff x="4325816" y="2404150"/>
            <a:chExt cx="3545245" cy="213950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887CB3B-C4AD-6643-0B40-C1077FE6EB22}"/>
                </a:ext>
              </a:extLst>
            </p:cNvPr>
            <p:cNvSpPr/>
            <p:nvPr/>
          </p:nvSpPr>
          <p:spPr>
            <a:xfrm>
              <a:off x="4326082" y="2984124"/>
              <a:ext cx="3544979" cy="1559533"/>
            </a:xfrm>
            <a:prstGeom prst="rect">
              <a:avLst/>
            </a:prstGeom>
            <a:solidFill>
              <a:srgbClr val="D1E8E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R="0" lvl="0" indent="0" fontAlgn="auto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None/>
                <a:tabLst/>
              </a:pPr>
              <a:endParaRPr lang="en-US" sz="1400" kern="0" noProof="0"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37" name="Shape 19509">
              <a:extLst>
                <a:ext uri="{FF2B5EF4-FFF2-40B4-BE49-F238E27FC236}">
                  <a16:creationId xmlns:a16="http://schemas.microsoft.com/office/drawing/2014/main" id="{C39B0EDA-774A-0477-1B27-B06CFB09B9FA}"/>
                </a:ext>
              </a:extLst>
            </p:cNvPr>
            <p:cNvSpPr/>
            <p:nvPr/>
          </p:nvSpPr>
          <p:spPr>
            <a:xfrm>
              <a:off x="5696812" y="2404150"/>
              <a:ext cx="793402" cy="793402"/>
            </a:xfrm>
            <a:prstGeom prst="ellipse">
              <a:avLst/>
            </a:prstGeom>
            <a:solidFill>
              <a:srgbClr val="D1E8ED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42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ABB71B56-F382-09CF-2390-5E3E6897AA3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750613" y="2457951"/>
              <a:ext cx="685800" cy="685800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0CBB9D76-A994-598F-BF7E-95C5E3678F01}"/>
                </a:ext>
              </a:extLst>
            </p:cNvPr>
            <p:cNvSpPr txBox="1"/>
            <p:nvPr/>
          </p:nvSpPr>
          <p:spPr>
            <a:xfrm>
              <a:off x="4325816" y="3642833"/>
              <a:ext cx="3544978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u="none" strike="noStrike" kern="1200" cap="none" spc="0" normalizeH="0" baseline="0" noProof="0" dirty="0">
                  <a:ln>
                    <a:noFill/>
                  </a:ln>
                  <a:solidFill>
                    <a:srgbClr val="131E29"/>
                  </a:solidFill>
                  <a:effectLst/>
                  <a:uLnTx/>
                  <a:uFillTx/>
                  <a:latin typeface="Source Sans Pro Light" panose="020B0403030403020204" pitchFamily="34" charset="0"/>
                  <a:ea typeface="Source Sans Pro Light" panose="020B0403030403020204" pitchFamily="34" charset="0"/>
                  <a:cs typeface="Poppins" pitchFamily="2" charset="77"/>
                </a:rPr>
                <a:t>Budget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D893610-966C-78E6-486B-C491AF2D95D3}"/>
              </a:ext>
            </a:extLst>
          </p:cNvPr>
          <p:cNvGrpSpPr/>
          <p:nvPr/>
        </p:nvGrpSpPr>
        <p:grpSpPr>
          <a:xfrm>
            <a:off x="8114045" y="2404150"/>
            <a:ext cx="3549698" cy="2139507"/>
            <a:chOff x="8114045" y="2404150"/>
            <a:chExt cx="3549698" cy="2139507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EA9622CC-6016-568D-5873-07CC6AD2306E}"/>
                </a:ext>
              </a:extLst>
            </p:cNvPr>
            <p:cNvSpPr/>
            <p:nvPr/>
          </p:nvSpPr>
          <p:spPr>
            <a:xfrm>
              <a:off x="8118764" y="2984124"/>
              <a:ext cx="3544979" cy="1559533"/>
            </a:xfrm>
            <a:prstGeom prst="rect">
              <a:avLst/>
            </a:prstGeom>
            <a:solidFill>
              <a:srgbClr val="BCDEE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82880" rIns="182880" bIns="45720" rtlCol="0" anchor="t"/>
            <a:lstStyle/>
            <a:p>
              <a:pPr marR="0" lvl="0" indent="0" fontAlgn="auto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None/>
                <a:tabLst/>
              </a:pPr>
              <a:endParaRPr lang="en-US" sz="1400" kern="0" noProof="0"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40" name="Shape 19509">
              <a:extLst>
                <a:ext uri="{FF2B5EF4-FFF2-40B4-BE49-F238E27FC236}">
                  <a16:creationId xmlns:a16="http://schemas.microsoft.com/office/drawing/2014/main" id="{B521971C-D5D5-051E-9798-85BE1FE9DCB5}"/>
                </a:ext>
              </a:extLst>
            </p:cNvPr>
            <p:cNvSpPr/>
            <p:nvPr/>
          </p:nvSpPr>
          <p:spPr>
            <a:xfrm>
              <a:off x="9489494" y="2404150"/>
              <a:ext cx="793402" cy="793402"/>
            </a:xfrm>
            <a:prstGeom prst="ellipse">
              <a:avLst/>
            </a:prstGeom>
            <a:solidFill>
              <a:srgbClr val="BCDEE6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42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F9222907-00AF-FCCC-B7D4-35DADFA718F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543295" y="2457951"/>
              <a:ext cx="685800" cy="685800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E55DB9D2-32A6-2089-08F9-42AE40AB3FE2}"/>
                </a:ext>
              </a:extLst>
            </p:cNvPr>
            <p:cNvSpPr txBox="1"/>
            <p:nvPr/>
          </p:nvSpPr>
          <p:spPr>
            <a:xfrm>
              <a:off x="8114045" y="3642833"/>
              <a:ext cx="3544978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u="none" strike="noStrike" kern="1200" cap="none" spc="0" normalizeH="0" baseline="0" noProof="0" dirty="0">
                  <a:ln>
                    <a:noFill/>
                  </a:ln>
                  <a:solidFill>
                    <a:srgbClr val="131E29"/>
                  </a:solidFill>
                  <a:effectLst/>
                  <a:uLnTx/>
                  <a:uFillTx/>
                  <a:latin typeface="Source Sans Pro Light" panose="020B0403030403020204" pitchFamily="34" charset="0"/>
                  <a:ea typeface="Source Sans Pro Light" panose="020B0403030403020204" pitchFamily="34" charset="0"/>
                  <a:cs typeface="Poppins" pitchFamily="2" charset="77"/>
                </a:rPr>
                <a:t>Fi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7534485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010D2B79-7F8B-4CED-92E4-802A421E2FA6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1"/>
            </p:custDataLst>
          </p:nvPr>
        </p:nvSpPr>
        <p:spPr>
          <a:xfrm>
            <a:off x="601663" y="2576514"/>
            <a:ext cx="5109326" cy="2292349"/>
          </a:xfrm>
        </p:spPr>
        <p:txBody>
          <a:bodyPr/>
          <a:lstStyle/>
          <a:p>
            <a:r>
              <a:rPr lang="en-US" dirty="0"/>
              <a:t>Workshop action</a:t>
            </a:r>
          </a:p>
          <a:p>
            <a:r>
              <a:rPr lang="en-US" sz="7200" dirty="0">
                <a:solidFill>
                  <a:srgbClr val="E30613"/>
                </a:solidFill>
              </a:rPr>
              <a:t>01</a:t>
            </a:r>
            <a:endParaRPr lang="en-US" sz="2000" dirty="0"/>
          </a:p>
          <a:p>
            <a:endParaRPr lang="en-US" sz="1400" dirty="0"/>
          </a:p>
          <a:p>
            <a:r>
              <a:rPr lang="en-US" sz="2000" dirty="0"/>
              <a:t>(2 minute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10DA0-CBE4-5006-1F0C-4BBBCE0C5B58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6481013" y="2576513"/>
            <a:ext cx="5166475" cy="2292349"/>
          </a:xfrm>
        </p:spPr>
        <p:txBody>
          <a:bodyPr/>
          <a:lstStyle/>
          <a:p>
            <a:r>
              <a:rPr lang="en-US" sz="2000" dirty="0">
                <a:solidFill>
                  <a:srgbClr val="003E51"/>
                </a:solidFill>
              </a:rPr>
              <a:t>The Rejection Port-Mortem</a:t>
            </a:r>
          </a:p>
          <a:p>
            <a:endParaRPr lang="en-US" sz="2000" dirty="0">
              <a:solidFill>
                <a:srgbClr val="003E51"/>
              </a:solidFill>
            </a:endParaRPr>
          </a:p>
          <a:p>
            <a:r>
              <a:rPr lang="en-US" sz="3600" b="1" dirty="0">
                <a:solidFill>
                  <a:srgbClr val="E30613"/>
                </a:solidFill>
              </a:rPr>
              <a:t>Reflect on a </a:t>
            </a:r>
            <a:br>
              <a:rPr lang="en-US" sz="3600" b="1" dirty="0">
                <a:solidFill>
                  <a:srgbClr val="E30613"/>
                </a:solidFill>
              </a:rPr>
            </a:br>
            <a:r>
              <a:rPr lang="en-US" sz="3600" b="1" dirty="0">
                <a:solidFill>
                  <a:srgbClr val="E30613"/>
                </a:solidFill>
              </a:rPr>
              <a:t>recent rejection, why </a:t>
            </a:r>
            <a:br>
              <a:rPr lang="en-US" sz="3600" b="1" dirty="0">
                <a:solidFill>
                  <a:srgbClr val="E30613"/>
                </a:solidFill>
              </a:rPr>
            </a:br>
            <a:r>
              <a:rPr lang="en-US" sz="3600" b="1" dirty="0">
                <a:solidFill>
                  <a:srgbClr val="E30613"/>
                </a:solidFill>
              </a:rPr>
              <a:t>did they say no?</a:t>
            </a:r>
          </a:p>
        </p:txBody>
      </p:sp>
    </p:spTree>
    <p:extLst>
      <p:ext uri="{BB962C8B-B14F-4D97-AF65-F5344CB8AC3E}">
        <p14:creationId xmlns:p14="http://schemas.microsoft.com/office/powerpoint/2010/main" val="1280247768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8804EE-4EE2-2A7D-4E78-465C44B2B2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7992877-D112-652D-56B9-BC31A18DF0F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F3525E-6A1E-5063-91D5-D872B275E1C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E46392-9E7D-ED00-ED98-F12C1B8952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The Found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98AE157-014D-4BF0-E916-E003B58CCD2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12401" y="6332400"/>
            <a:ext cx="699396" cy="29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897152"/>
      </p:ext>
    </p:extLst>
  </p:cSld>
  <p:clrMapOvr>
    <a:masterClrMapping/>
  </p:clrMapOvr>
  <p:transition spd="slow">
    <p:push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uple of people riding bicycles&#10;&#10;AI-generated content may be incorrect.">
            <a:extLst>
              <a:ext uri="{FF2B5EF4-FFF2-40B4-BE49-F238E27FC236}">
                <a16:creationId xmlns:a16="http://schemas.microsoft.com/office/drawing/2014/main" id="{DF7B6005-2687-A2CA-EF75-88137126E6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2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27D325B-9944-6AEF-6F5B-7FDF49B919F0}"/>
              </a:ext>
            </a:extLst>
          </p:cNvPr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E01532-77AF-A4EC-3749-92A812F9A4E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The Wh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AD69A4-0676-AB5E-A185-202DF423DF6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12401" y="6332400"/>
            <a:ext cx="699396" cy="29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6532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278716-A64F-BD74-697E-8DA64CD529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hape 19509">
            <a:extLst>
              <a:ext uri="{FF2B5EF4-FFF2-40B4-BE49-F238E27FC236}">
                <a16:creationId xmlns:a16="http://schemas.microsoft.com/office/drawing/2014/main" id="{56FD287C-6CC0-CDD5-96BF-03DD7BF16BE4}"/>
              </a:ext>
            </a:extLst>
          </p:cNvPr>
          <p:cNvSpPr/>
          <p:nvPr/>
        </p:nvSpPr>
        <p:spPr>
          <a:xfrm>
            <a:off x="3338123" y="1913379"/>
            <a:ext cx="640080" cy="640080"/>
          </a:xfrm>
          <a:prstGeom prst="ellipse">
            <a:avLst/>
          </a:prstGeom>
          <a:solidFill>
            <a:srgbClr val="BCDEE6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71438" tIns="71438" rIns="71438" bIns="71438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421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  <a:sym typeface="Gill San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7C44E1-4FAA-9542-8705-AD84F2086E38}"/>
              </a:ext>
            </a:extLst>
          </p:cNvPr>
          <p:cNvSpPr txBox="1"/>
          <p:nvPr/>
        </p:nvSpPr>
        <p:spPr>
          <a:xfrm>
            <a:off x="523073" y="1775637"/>
            <a:ext cx="2323822" cy="2960351"/>
          </a:xfrm>
          <a:prstGeom prst="rect">
            <a:avLst/>
          </a:prstGeom>
          <a:solidFill>
            <a:srgbClr val="131E29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portrait</a:t>
            </a:r>
          </a:p>
        </p:txBody>
      </p:sp>
      <p:sp>
        <p:nvSpPr>
          <p:cNvPr id="37" name="Shape 19509">
            <a:extLst>
              <a:ext uri="{FF2B5EF4-FFF2-40B4-BE49-F238E27FC236}">
                <a16:creationId xmlns:a16="http://schemas.microsoft.com/office/drawing/2014/main" id="{D2CA51B3-FB47-7436-93B4-F37F32F09F23}"/>
              </a:ext>
            </a:extLst>
          </p:cNvPr>
          <p:cNvSpPr/>
          <p:nvPr/>
        </p:nvSpPr>
        <p:spPr>
          <a:xfrm>
            <a:off x="1364944" y="4415948"/>
            <a:ext cx="640080" cy="640080"/>
          </a:xfrm>
          <a:prstGeom prst="ellipse">
            <a:avLst/>
          </a:prstGeom>
          <a:solidFill>
            <a:srgbClr val="BCDEE6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71438" tIns="71438" rIns="71438" bIns="71438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421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  <a:sym typeface="Gill San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38ED7C-7F03-17E7-D575-B99B2C2A82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1D976-1952-4225-8B5D-FB6C01AF759E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A4CA3A91-8EB1-BAC8-44CF-C4894DE8BDB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21618" y="1130162"/>
            <a:ext cx="418235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200" dirty="0"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Role Fictional Name</a:t>
            </a:r>
            <a:endParaRPr sz="3200" dirty="0">
              <a:latin typeface="Source Sans Pro SemiBold" panose="020B0603030403020204" pitchFamily="34" charset="0"/>
              <a:ea typeface="Source Sans Pro SemiBold" panose="020B0603030403020204" pitchFamily="34" charset="0"/>
              <a:cs typeface="+mj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8A60402-DD40-26A2-CBF3-7A6E201E11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11353" y="4460376"/>
            <a:ext cx="551224" cy="55122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6005C1C-BAB3-99BF-8F25-C153C372A7C4}"/>
              </a:ext>
            </a:extLst>
          </p:cNvPr>
          <p:cNvSpPr txBox="1"/>
          <p:nvPr/>
        </p:nvSpPr>
        <p:spPr>
          <a:xfrm>
            <a:off x="4048909" y="2020543"/>
            <a:ext cx="311583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2000" b="1" dirty="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egoe UI" panose="020B0502040204020203" pitchFamily="34" charset="0"/>
              </a:rPr>
              <a:t>Goals: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BC2E5B9-01D3-CDC3-0080-BF0F0D58758A}"/>
              </a:ext>
            </a:extLst>
          </p:cNvPr>
          <p:cNvCxnSpPr/>
          <p:nvPr/>
        </p:nvCxnSpPr>
        <p:spPr>
          <a:xfrm>
            <a:off x="3308589" y="1756786"/>
            <a:ext cx="8360338" cy="0"/>
          </a:xfrm>
          <a:prstGeom prst="line">
            <a:avLst/>
          </a:prstGeom>
          <a:ln>
            <a:solidFill>
              <a:srgbClr val="131E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bject 3">
            <a:extLst>
              <a:ext uri="{FF2B5EF4-FFF2-40B4-BE49-F238E27FC236}">
                <a16:creationId xmlns:a16="http://schemas.microsoft.com/office/drawing/2014/main" id="{7B7E7B67-DD23-A188-A1C6-4D2C28D6C00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489480" y="1130162"/>
            <a:ext cx="4180903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0"/>
              </a:spcBef>
            </a:pPr>
            <a:r>
              <a:rPr lang="en-US" sz="3200" dirty="0"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Country</a:t>
            </a:r>
            <a:endParaRPr sz="3200" dirty="0">
              <a:latin typeface="Source Sans Pro SemiBold" panose="020B0603030403020204" pitchFamily="34" charset="0"/>
              <a:ea typeface="Source Sans Pro SemiBold" panose="020B0603030403020204" pitchFamily="34" charset="0"/>
              <a:cs typeface="+mj-cs"/>
            </a:endParaRPr>
          </a:p>
        </p:txBody>
      </p:sp>
      <p:sp>
        <p:nvSpPr>
          <p:cNvPr id="29" name="Title 2">
            <a:extLst>
              <a:ext uri="{FF2B5EF4-FFF2-40B4-BE49-F238E27FC236}">
                <a16:creationId xmlns:a16="http://schemas.microsoft.com/office/drawing/2014/main" id="{2EAEFA33-ACDD-DD19-33CE-81CF06AA0AFD}"/>
              </a:ext>
            </a:extLst>
          </p:cNvPr>
          <p:cNvSpPr txBox="1">
            <a:spLocks/>
          </p:cNvSpPr>
          <p:nvPr/>
        </p:nvSpPr>
        <p:spPr>
          <a:xfrm>
            <a:off x="421668" y="378218"/>
            <a:ext cx="7343775" cy="123031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+mj-cs"/>
              </a:defRPr>
            </a:lvl1pPr>
          </a:lstStyle>
          <a:p>
            <a:r>
              <a:rPr lang="en-GB" dirty="0"/>
              <a:t>Persona</a:t>
            </a:r>
            <a:endParaRPr lang="en-US" sz="1800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050D79B-CE2D-BD51-993F-C91DE2FF88A8}"/>
              </a:ext>
            </a:extLst>
          </p:cNvPr>
          <p:cNvCxnSpPr/>
          <p:nvPr/>
        </p:nvCxnSpPr>
        <p:spPr>
          <a:xfrm>
            <a:off x="3299381" y="5230837"/>
            <a:ext cx="8360338" cy="0"/>
          </a:xfrm>
          <a:prstGeom prst="line">
            <a:avLst/>
          </a:prstGeom>
          <a:ln>
            <a:solidFill>
              <a:srgbClr val="131E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A37FA6B-59BA-2422-E061-5092F93601FC}"/>
              </a:ext>
            </a:extLst>
          </p:cNvPr>
          <p:cNvCxnSpPr>
            <a:cxnSpLocks/>
          </p:cNvCxnSpPr>
          <p:nvPr/>
        </p:nvCxnSpPr>
        <p:spPr>
          <a:xfrm>
            <a:off x="7489480" y="1756813"/>
            <a:ext cx="0" cy="3474024"/>
          </a:xfrm>
          <a:prstGeom prst="line">
            <a:avLst/>
          </a:prstGeom>
          <a:ln>
            <a:solidFill>
              <a:srgbClr val="131E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Graphic 43">
            <a:extLst>
              <a:ext uri="{FF2B5EF4-FFF2-40B4-BE49-F238E27FC236}">
                <a16:creationId xmlns:a16="http://schemas.microsoft.com/office/drawing/2014/main" id="{798038AC-D6F1-08EB-2FBE-3C1A2D02EB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92490" y="1937929"/>
            <a:ext cx="551224" cy="551224"/>
          </a:xfrm>
          <a:prstGeom prst="rect">
            <a:avLst/>
          </a:prstGeom>
        </p:spPr>
      </p:pic>
      <p:sp>
        <p:nvSpPr>
          <p:cNvPr id="45" name="Shape 19509">
            <a:extLst>
              <a:ext uri="{FF2B5EF4-FFF2-40B4-BE49-F238E27FC236}">
                <a16:creationId xmlns:a16="http://schemas.microsoft.com/office/drawing/2014/main" id="{5584D66F-4E4C-BE78-E4A3-D700D0502C78}"/>
              </a:ext>
            </a:extLst>
          </p:cNvPr>
          <p:cNvSpPr/>
          <p:nvPr/>
        </p:nvSpPr>
        <p:spPr>
          <a:xfrm>
            <a:off x="7631827" y="1913379"/>
            <a:ext cx="640080" cy="640080"/>
          </a:xfrm>
          <a:prstGeom prst="ellipse">
            <a:avLst/>
          </a:prstGeom>
          <a:solidFill>
            <a:srgbClr val="BCDEE6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71438" tIns="71438" rIns="71438" bIns="71438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421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  <a:sym typeface="Gill San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407510E-B777-579C-D03F-059879707E2E}"/>
              </a:ext>
            </a:extLst>
          </p:cNvPr>
          <p:cNvSpPr txBox="1"/>
          <p:nvPr/>
        </p:nvSpPr>
        <p:spPr>
          <a:xfrm>
            <a:off x="8342613" y="2020543"/>
            <a:ext cx="311583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2000" b="1" dirty="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egoe UI" panose="020B0502040204020203" pitchFamily="34" charset="0"/>
              </a:rPr>
              <a:t>Challenges: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2845CE6B-0B8A-E647-C0B9-4C017C72A8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58307" y="1977996"/>
            <a:ext cx="551224" cy="551224"/>
          </a:xfrm>
          <a:prstGeom prst="rect">
            <a:avLst/>
          </a:prstGeom>
        </p:spPr>
      </p:pic>
      <p:sp>
        <p:nvSpPr>
          <p:cNvPr id="51" name="Shape 19509">
            <a:extLst>
              <a:ext uri="{FF2B5EF4-FFF2-40B4-BE49-F238E27FC236}">
                <a16:creationId xmlns:a16="http://schemas.microsoft.com/office/drawing/2014/main" id="{CE0322EA-F2D1-D120-15DB-6FB43E6527B4}"/>
              </a:ext>
            </a:extLst>
          </p:cNvPr>
          <p:cNvSpPr/>
          <p:nvPr/>
        </p:nvSpPr>
        <p:spPr>
          <a:xfrm>
            <a:off x="3338123" y="5377015"/>
            <a:ext cx="640080" cy="640080"/>
          </a:xfrm>
          <a:prstGeom prst="ellipse">
            <a:avLst/>
          </a:prstGeom>
          <a:solidFill>
            <a:srgbClr val="BCDEE6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71438" tIns="71438" rIns="71438" bIns="71438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421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  <a:sym typeface="Gill San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011A62C-1313-DDD5-DCFB-7E75AE5C9008}"/>
              </a:ext>
            </a:extLst>
          </p:cNvPr>
          <p:cNvSpPr txBox="1"/>
          <p:nvPr/>
        </p:nvSpPr>
        <p:spPr>
          <a:xfrm>
            <a:off x="4048909" y="5484179"/>
            <a:ext cx="447163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2000" b="1" dirty="0">
                <a:solidFill>
                  <a:schemeClr val="tx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egoe UI" panose="020B0502040204020203" pitchFamily="34" charset="0"/>
              </a:rPr>
              <a:t>Communication preferences: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131E29"/>
              </a:solidFill>
              <a:effectLst/>
              <a:uLnTx/>
              <a:uFillTx/>
              <a:latin typeface="Source Sans Pro Light" panose="020B0403030403020204" pitchFamily="34" charset="0"/>
              <a:ea typeface="Source Sans Pro Light" panose="020B0403030403020204" pitchFamily="34" charset="0"/>
              <a:cs typeface="+mn-cs"/>
            </a:endParaRP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A9E2C4C1-94A4-E8C4-37C8-ADAB8BD442C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86137" y="5422529"/>
            <a:ext cx="551224" cy="551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948750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4499415e-901e-4cc9-812f-1cf7c66fbd0b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6" val="Top=509.25|Left=19.62504|Width=284.9999|Height=9.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918.1249|Height=53.62496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19" val="Top=509.25|Left=19.62504|Width=284.9999|Height=9.7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918.1249|Height=53.62496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19" val="Top=509.25|Left=19.62504|Width=284.9999|Height=9.7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4" val="Top=495.9876|Left=887.284|Width=51.71598|Height=23.01236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73.5|Left=19.87496|Width=918.1249|Height=53.62496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GRAPHIC 12" val="Top=0|Left=636.7806|Width=323.2194|Height=54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73.5|Left=19.87496|Width=918.1249|Height=53.62496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8" val="Top=347.2441|Left=19.87504|Width=454.125|Height=67.4999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RECTANGLE 4" val="Top=0|Left=0|Width=480|Height=54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6" val="Top=202.8751|Left=19.74992|Width=454.25|Height=180.4999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6" val="Top=202.875|Left=484.75|Width=454.25|Height=180.4999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6" val="Top=509.25|Left=19.62504|Width=284.9999|Height=9.7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84|Left=19.87504|Width=454.125|Height=130.7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CONTENT PLACEHOLDER 2" val="Top=347.25|Left=19.87504|Width=454.125|Height=67.4999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6" val="Top=509.25|Left=19.62504|Width=284.9999|Height=9.7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8" val="Top=202.8751|Left=19.74992|Width=454.25|Height=180.499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3" val="Top=88.00008|Left=19.87504|Width=454.125|Height=126.7499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3" val="Top=202.875|Left=484.75|Width=454.25|Height=180.4999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OBJECT 3" val="Top=336.6124|Left=19.87496|Width=223.125|Height=86.29456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OBJECT 3" val="Top=336.6124|Left=19.87496|Width=223.125|Height=86.29456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OBJECT 3" val="Top=336.6124|Left=19.87496|Width=223.125|Height=86.29456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OBJECT 3" val="Top=336.6124|Left=19.87496|Width=223.125|Height=86.29456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8" val="Top=202.8751|Left=19.74992|Width=454.25|Height=180.4999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3" val="Top=202.875|Left=484.75|Width=454.25|Height=180.499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5" val="Top=245.5|Left=19.87504|Width=454.125|Height=47.83929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8" val="Top=202.8751|Left=19.74992|Width=454.25|Height=180.4999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3" val="Top=202.875|Left=484.75|Width=454.25|Height=180.4999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8" val="Top=202.8751|Left=19.74992|Width=454.25|Height=180.4999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3" val="Top=202.875|Left=484.75|Width=454.25|Height=180.4999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3" val="Top=202.875|Left=484.75|Width=454.25|Height=180.4999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3" val="Top=202.875|Left=484.75|Width=454.25|Height=180.499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5" val="Top=73.5|Left=19.75|Width=918.1249|Height=53.6249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6" val="Top=509.25|Left=19.62504|Width=284.9999|Height=9.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PLACEHOLDER 4" val="Top=0|Left=484.25|Width=475.7498|Height=539.999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8" val="Top=347.2441|Left=19.87504|Width=454.125|Height=67.4999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3" val="Top=88.00008|Left=19.87504|Width=454.125|Height=126.749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6" val="Top=509.25|Left=19.62504|Width=284.9999|Height=9.7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5" val="Top=245.5|Left=19.87504|Width=454.125|Height=47.8392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6" val="Top=509.25|Left=19.62504|Width=284.9999|Height=9.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PLACEHOLDER 4" val="Top=0|Left=484.25|Width=475.7498|Height=539.9999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8" val="Top=347.2441|Left=19.87504|Width=454.125|Height=67.4999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3" val="Top=88.00008|Left=19.87504|Width=454.125|Height=126.749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5" val="Top=245.5|Left=19.87504|Width=454.125|Height=47.8392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2" val="Top=94.48779|Left=19.87496|Width=340.1575|Height=34.9433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6" val="Top=509.25|Left=19.62504|Width=284.9999|Height=9.7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GRAPHIC 9" val="Top=-27.46811|Left=304.625|Width=655.4503|Height=567.468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5" val="Top=245.9999|Left=19.87504|Width=660.3749|Height=82.2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PLACEHOLDER 1" val="Top=19.87504|Left=19.87496|Width=918.1249|Height=53.6249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8" val="Top=347.25|Left=19.87504|Width=660.3749|Height=67.4999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3" val="Top=84|Left=19.87504|Width=660.3749|Height=130.7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6" val="Top=509.25|Left=19.62504|Width=284.9999|Height=9.7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GRAPHIC 7" val="Top=-7.874016E-05|Left=460.0453|Width=499.9547|Height=541.73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49.0001|Left=19.75|Width=581|Height=179.249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6" val="Top=509.25|Left=19.62504|Width=284.9999|Height=9.7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6" val="Top=-7.874016E-05|Left=584.5936|Width=375.4065|Height=540.000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918.1249|Height=53.6249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ABLE PLACEHOLDER 5" val="Top=148.375|Left=19.87504|Width=570.3749|Height=307.6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2" val="Top=148.375|Left=19.87496|Width=919.1249|Height=340.1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7" val="Top=509.25|Left=19.62504|Width=284.9999|Height=9.7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4" val="Top=495.9876|Left=887.284|Width=51.71598|Height=23.01236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918.1249|Height=53.6249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ABLE PLACEHOLDER 5" val="Top=148.375|Left=19.87504|Width=454.125|Height=307.62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PLACEHOLDER 7" val="Top=148.375|Left=484.25|Width=454.75|Height=307.6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8" val="Top=509.25|Left=19.62504|Width=284.9999|Height=9.7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PLACEHOLDER 7" val="Top=0|Left=368.25|Width=591.75|Height=539.9999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337.875|Height=118.1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5" val="Top=148.375|Left=19.75|Width=338|Height=307.6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4" val="Top=495.9876|Left=887.284|Width=51.71598|Height=23.0123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6" val="Top=509.25|Left=19.62504|Width=284.9999|Height=9.7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RECTANGLE 6" val="Top=0|Left=0|Width=368.25|Height=54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337.875|Height=118.1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5" val="Top=148.375|Left=19.75|Width=338|Height=307.62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5" val="Top=76|Left=433.375|Width=42.12496|Height=39.7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11" val="Top=80.5|Left=484.5002|Width=453.4998|Height=57.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5" val="Top=143.25|Left=433.375|Width=42.12496|Height=39.7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11" val="Top=147.75|Left=484.5002|Width=453.4998|Height=57.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5" val="Top=206|Left=433.375|Width=42.12496|Height=39.7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11" val="Top=210.5|Left=484.5002|Width=453.4998|Height=57.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8" val="Top=347.2441|Left=19.87504|Width=454.125|Height=67.4999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5" val="Top=272.7501|Left=433.375|Width=42.12496|Height=39.7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11" val="Top=277.2501|Left=484.5002|Width=453.4998|Height=57.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5" val="Top=340.0001|Left=433.375|Width=42.12496|Height=39.7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11" val="Top=344.5001|Left=484.5002|Width=453.4998|Height=57.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5" val="Top=402.7501|Left=433.375|Width=42.12496|Height=39.7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11" val="Top=407.2501|Left=484.5002|Width=453.4998|Height=57.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19" val="Top=509.25|Left=19.62504|Width=284.9999|Height=9.7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686.3751|Height=53.6249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PLACEHOLDER 5" val="Top=19.87504|Left=717|Width=222|Height=446.6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19" val="Top=509.25|Left=19.62504|Width=284.9999|Height=9.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3" val="Top=88.00008|Left=19.87504|Width=454.125|Height=126.7499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918.1249|Height=53.62496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19" val="Top=509.25|Left=19.62504|Width=284.9999|Height=9.7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7" val="Top=402.375|Left=135.625|Width=803.3749|Height=53.62496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4" val="Top=10.26787|Left=135.625|Width=106|Height=112.982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TRAIGHT CONNECTOR 5" val="Top=43.42858|Left=98.58937|Width=0|Height=423.071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7" val="Top=402.375|Left=135.625|Width=803.3749|Height=53.62496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7" val="Top=402.375|Left=135.625|Width=803.3749|Height=53.62496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918.1249|Height=53.62496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CHART PLACEHOLDER 5" val="Top=138|Left=19.87504|Width=918.1249|Height=328.4999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19" val="Top=509.25|Left=19.62504|Width=284.9999|Height=9.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 PLACEHOLDER 5" val="Top=245.5|Left=19.87504|Width=454.125|Height=47.83929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918.1249|Height=53.6249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19" val="Top=509.25|Left=19.62504|Width=284.9999|Height=9.7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918.1249|Height=53.62496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19" val="Top=509.25|Left=19.62504|Width=284.9999|Height=9.7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918.1249|Height=53.62496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19" val="Top=509.25|Left=19.62504|Width=284.9999|Height=9.7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918.1249|Height=53.62496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19" val="Top=509.25|Left=19.62504|Width=284.9999|Height=9.7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918.1249|Height=53.6249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19" val="Top=509.25|Left=19.62504|Width=284.9999|Height=9.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918.1249|Height=53.62496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19" val="Top=509.25|Left=19.62504|Width=284.9999|Height=9.7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19" val="Top=509.25|Left=19.62504|Width=284.9999|Height=9.7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918.1249|Height=53.62496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19" val="Top=509.25|Left=19.62504|Width=284.9999|Height=9.7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PICTURE 10" val="Top=484.2906|Left=19.87488|Width=339.84|Height=34.91126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918.1249|Height=53.62496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19" val="Top=509.25|Left=19.62504|Width=284.9999|Height=9.7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ITLE 1" val="Top=19.87504|Left=19.87496|Width=918.1249|Height=53.62496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LIDE NUMBER PLACEHOLDER 19" val="Top=509.25|Left=19.62504|Width=284.9999|Height=9.75"/>
</p:tagLst>
</file>

<file path=ppt/theme/theme1.xml><?xml version="1.0" encoding="utf-8"?>
<a:theme xmlns:a="http://schemas.openxmlformats.org/drawingml/2006/main" name="JLL_Widescreen">
  <a:themeElements>
    <a:clrScheme name="Custom 8">
      <a:dk1>
        <a:srgbClr val="131E29"/>
      </a:dk1>
      <a:lt1>
        <a:srgbClr val="FFFFFF"/>
      </a:lt1>
      <a:dk2>
        <a:srgbClr val="08475E"/>
      </a:dk2>
      <a:lt2>
        <a:srgbClr val="E0C6AD"/>
      </a:lt2>
      <a:accent1>
        <a:srgbClr val="D1B9A7"/>
      </a:accent1>
      <a:accent2>
        <a:srgbClr val="40798D"/>
      </a:accent2>
      <a:accent3>
        <a:srgbClr val="95C6D5"/>
      </a:accent3>
      <a:accent4>
        <a:srgbClr val="915991"/>
      </a:accent4>
      <a:accent5>
        <a:srgbClr val="A5C6A5"/>
      </a:accent5>
      <a:accent6>
        <a:srgbClr val="7D6F64"/>
      </a:accent6>
      <a:hlink>
        <a:srgbClr val="E30613"/>
      </a:hlink>
      <a:folHlink>
        <a:srgbClr val="131E29"/>
      </a:folHlink>
    </a:clrScheme>
    <a:fontScheme name="JLL-202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custClrLst>
    <a:custClr name="JLL Red">
      <a:srgbClr val="E30613"/>
    </a:custClr>
    <a:custClr name="White">
      <a:srgbClr val="FFFFFF"/>
    </a:custClr>
    <a:custClr name="Ocean">
      <a:srgbClr val="BCDEE6"/>
    </a:custClr>
    <a:custClr name="Sand">
      <a:srgbClr val="E0C6AD"/>
    </a:custClr>
    <a:custClr name="Space">
      <a:srgbClr val="003E51"/>
    </a:custClr>
    <a:custClr name="Midnight">
      <a:srgbClr val="131E29"/>
    </a:custClr>
    <a:custClr name="Dune">
      <a:srgbClr val="D1B9A7"/>
    </a:custClr>
    <a:custClr name="Azure">
      <a:srgbClr val="40798D"/>
    </a:custClr>
    <a:custClr name="Sea">
      <a:srgbClr val="95C6D5"/>
    </a:custClr>
    <a:custClr name="Orchid">
      <a:srgbClr val="915991"/>
    </a:custClr>
    <a:custClr name="Meadow">
      <a:srgbClr val="A5C6A5"/>
    </a:custClr>
    <a:custClr name="Cedar">
      <a:srgbClr val="7D6F64"/>
    </a:custClr>
    <a:custClr name="Periwinkle">
      <a:srgbClr val="AABCF4"/>
    </a:custClr>
    <a:custClr name="Forest">
      <a:srgbClr val="497749"/>
    </a:custClr>
    <a:custClr name="Dusk">
      <a:srgbClr val="D0B5D0"/>
    </a:custClr>
    <a:custClr name="Glacier">
      <a:srgbClr val="667579"/>
    </a:custClr>
    <a:custClr name="Sky">
      <a:srgbClr val="0C7BA1"/>
    </a:custClr>
    <a:custClr name="Cloud">
      <a:srgbClr val="B6C0C2"/>
    </a:custClr>
    <a:custClr name="Pearl">
      <a:srgbClr val="D4D4D4"/>
    </a:custClr>
    <a:custClr name="Chestnut">
      <a:srgbClr val="742B00"/>
    </a:custClr>
    <a:custClr name="Danger">
      <a:srgbClr val="C64901"/>
    </a:custClr>
    <a:custClr name="Warning">
      <a:srgbClr val="B6C0C2"/>
    </a:custClr>
    <a:custClr name="Sucess">
      <a:srgbClr val="08475E"/>
    </a:custClr>
    <a:custClr name="Danger">
      <a:srgbClr val="B0133A"/>
    </a:custClr>
    <a:custClr name="Warning">
      <a:srgbClr val="CB5E24"/>
    </a:custClr>
    <a:custClr name="Success">
      <a:srgbClr val="0A6638"/>
    </a:custClr>
  </a:custClrLst>
  <a:extLst>
    <a:ext uri="{05A4C25C-085E-4340-85A3-A5531E510DB2}">
      <thm15:themeFamily xmlns:thm15="http://schemas.microsoft.com/office/thememl/2012/main" name="Presentation1" id="{CDE4AA79-6FF4-45E4-81E1-B7704A3AAB42}" vid="{1B88EDD3-773F-47B8-A7E8-B11DA0203A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613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0A7E03FA-79F2-40AE-A0F7-833BBF290788}">
  <we:reference id="b0430364-2ab6-47cd-907e-f8b72239b204" version="3.19.222.0" store="EXCatalog" storeType="EXCatalog"/>
  <we:alternateReferences>
    <we:reference id="WA200000729" version="3.19.222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7a6c34b-4578-4d1b-8e20-80672a2b22d1">
      <Terms xmlns="http://schemas.microsoft.com/office/infopath/2007/PartnerControls"/>
    </lcf76f155ced4ddcb4097134ff3c332f>
    <_x006b_v06 xmlns="e7a6c34b-4578-4d1b-8e20-80672a2b22d1">
      <UserInfo>
        <DisplayName/>
        <AccountId xsi:nil="true"/>
        <AccountType/>
      </UserInfo>
    </_x006b_v06>
    <TaxCatchAll xmlns="80a8eb3b-4f08-4e73-925b-3f6e16acade2" xsi:nil="true"/>
    <_dlc_DocId xmlns="80a8eb3b-4f08-4e73-925b-3f6e16acade2">62KTMQFPT4EX-256383320-423627</_dlc_DocId>
    <_dlc_DocIdUrl xmlns="80a8eb3b-4f08-4e73-925b-3f6e16acade2">
      <Url>https://jll2.sharepoint.com/teams/GlobalBrand/_layouts/15/DocIdRedir.aspx?ID=62KTMQFPT4EX-256383320-423627</Url>
      <Description>62KTMQFPT4EX-256383320-423627</Description>
    </_dlc_DocIdUrl>
    <SharedWithUsers xmlns="80a8eb3b-4f08-4e73-925b-3f6e16acade2">
      <UserInfo>
        <DisplayName>Tipper, Mark</DisplayName>
        <AccountId>105</AccountId>
        <AccountType/>
      </UserInfo>
      <UserInfo>
        <DisplayName>urshla.sheehan</DisplayName>
        <AccountId>12530</AccountId>
        <AccountType/>
      </UserInfo>
    </SharedWithUsers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52841581CC7D43A7C63F84D4C07D4D" ma:contentTypeVersion="22" ma:contentTypeDescription="Create a new document." ma:contentTypeScope="" ma:versionID="fb6438d20382fe6cb4f84fe6c78330ab">
  <xsd:schema xmlns:xsd="http://www.w3.org/2001/XMLSchema" xmlns:xs="http://www.w3.org/2001/XMLSchema" xmlns:p="http://schemas.microsoft.com/office/2006/metadata/properties" xmlns:ns2="80a8eb3b-4f08-4e73-925b-3f6e16acade2" xmlns:ns3="e7a6c34b-4578-4d1b-8e20-80672a2b22d1" targetNamespace="http://schemas.microsoft.com/office/2006/metadata/properties" ma:root="true" ma:fieldsID="db8660ae24473dbd9536928c298078fd" ns2:_="" ns3:_="">
    <xsd:import namespace="80a8eb3b-4f08-4e73-925b-3f6e16acade2"/>
    <xsd:import namespace="e7a6c34b-4578-4d1b-8e20-80672a2b22d1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_x006b_v06" minOccurs="0"/>
                <xsd:element ref="ns3:MediaLengthInSeconds" minOccurs="0"/>
                <xsd:element ref="ns2:TaxCatchAll" minOccurs="0"/>
                <xsd:element ref="ns3:lcf76f155ced4ddcb4097134ff3c332f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a8eb3b-4f08-4e73-925b-3f6e16acade2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3ef6de5c-b578-4ee8-aa4e-83f64e6c7a19}" ma:internalName="TaxCatchAll" ma:showField="CatchAllData" ma:web="80a8eb3b-4f08-4e73-925b-3f6e16acade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a6c34b-4578-4d1b-8e20-80672a2b22d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_x006b_v06" ma:index="23" nillable="true" ma:displayName="Person or Group" ma:list="UserInfo" ma:internalName="_x006b_v06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LengthInSeconds" ma:index="24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7" nillable="true" ma:taxonomy="true" ma:internalName="lcf76f155ced4ddcb4097134ff3c332f" ma:taxonomyFieldName="MediaServiceImageTags" ma:displayName="Image Tags" ma:readOnly="false" ma:fieldId="{5cf76f15-5ced-4ddc-b409-7134ff3c332f}" ma:taxonomyMulti="true" ma:sspId="bae13d7f-ecf8-4f55-952b-8942762ab4a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8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5C25AC-B8FF-4F42-AECE-3B0A9DC7A9E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3A77031-C243-4831-B645-25A1083E284C}">
  <ds:schemaRefs>
    <ds:schemaRef ds:uri="http://schemas.microsoft.com/sharepoint/events"/>
    <ds:schemaRef ds:uri="http://www.w3.org/2000/xmlns/"/>
  </ds:schemaRefs>
</ds:datastoreItem>
</file>

<file path=customXml/itemProps3.xml><?xml version="1.0" encoding="utf-8"?>
<ds:datastoreItem xmlns:ds="http://schemas.openxmlformats.org/officeDocument/2006/customXml" ds:itemID="{4E561B4A-DBB7-4AD3-933A-AAF59DDD0834}">
  <ds:schemaRefs>
    <ds:schemaRef ds:uri="80a8eb3b-4f08-4e73-925b-3f6e16acade2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purl.org/dc/terms/"/>
    <ds:schemaRef ds:uri="e7a6c34b-4578-4d1b-8e20-80672a2b22d1"/>
    <ds:schemaRef ds:uri="http://schemas.microsoft.com/office/2006/metadata/properties"/>
  </ds:schemaRefs>
</ds:datastoreItem>
</file>

<file path=customXml/itemProps4.xml><?xml version="1.0" encoding="utf-8"?>
<ds:datastoreItem xmlns:ds="http://schemas.openxmlformats.org/officeDocument/2006/customXml" ds:itemID="{69BB552E-859E-4D74-8CDE-DD7EC4072715}">
  <ds:schemaRefs>
    <ds:schemaRef ds:uri="80a8eb3b-4f08-4e73-925b-3f6e16acade2"/>
    <ds:schemaRef ds:uri="e7a6c34b-4578-4d1b-8e20-80672a2b22d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JLL PowerPoint - Widescreen 2025 (2)</Template>
  <TotalTime>3737</TotalTime>
  <Words>438</Words>
  <Application>Microsoft Macintosh PowerPoint</Application>
  <PresentationFormat>Widescreen</PresentationFormat>
  <Paragraphs>149</Paragraphs>
  <Slides>2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8" baseType="lpstr">
      <vt:lpstr>.HelveticaNeueDeskInterface-Regular</vt:lpstr>
      <vt:lpstr>Arial</vt:lpstr>
      <vt:lpstr>Calibri</vt:lpstr>
      <vt:lpstr>Lato Light</vt:lpstr>
      <vt:lpstr>Source Sans Pro Black</vt:lpstr>
      <vt:lpstr>Source Sans Pro Light</vt:lpstr>
      <vt:lpstr>Source Sans Pro SemiBold</vt:lpstr>
      <vt:lpstr>Source Serif Pro</vt:lpstr>
      <vt:lpstr>Times New Roman</vt:lpstr>
      <vt:lpstr>JLL_Widescreen</vt:lpstr>
      <vt:lpstr>Don’t Take No for an Answer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Manager/>
  <Company>JLL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idelines for sharing externally</dc:title>
  <dc:subject/>
  <dc:creator/>
  <cp:keywords/>
  <dc:description/>
  <cp:lastModifiedBy>Scurte, Jessi</cp:lastModifiedBy>
  <cp:revision>66</cp:revision>
  <cp:lastPrinted>2017-04-06T13:13:32Z</cp:lastPrinted>
  <dcterms:created xsi:type="dcterms:W3CDTF">2025-03-17T07:55:12Z</dcterms:created>
  <dcterms:modified xsi:type="dcterms:W3CDTF">2025-10-20T20:38:5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52841581CC7D43A7C63F84D4C07D4D</vt:lpwstr>
  </property>
  <property fmtid="{D5CDD505-2E9C-101B-9397-08002B2CF9AE}" pid="3" name="_dlc_DocIdItemGuid">
    <vt:lpwstr>12d40c17-6eb8-4193-afa4-0ccfb965a614</vt:lpwstr>
  </property>
  <property fmtid="{D5CDD505-2E9C-101B-9397-08002B2CF9AE}" pid="4" name="MediaServiceImageTags">
    <vt:lpwstr/>
  </property>
</Properties>
</file>